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90" r:id="rId5"/>
  </p:sldMasterIdLst>
  <p:notesMasterIdLst>
    <p:notesMasterId r:id="rId33"/>
  </p:notesMasterIdLst>
  <p:handoutMasterIdLst>
    <p:handoutMasterId r:id="rId34"/>
  </p:handoutMasterIdLst>
  <p:sldIdLst>
    <p:sldId id="527" r:id="rId6"/>
    <p:sldId id="11823" r:id="rId7"/>
    <p:sldId id="11816" r:id="rId8"/>
    <p:sldId id="11826" r:id="rId9"/>
    <p:sldId id="4348" r:id="rId10"/>
    <p:sldId id="11818" r:id="rId11"/>
    <p:sldId id="11824" r:id="rId12"/>
    <p:sldId id="11756" r:id="rId13"/>
    <p:sldId id="11825" r:id="rId14"/>
    <p:sldId id="11857" r:id="rId15"/>
    <p:sldId id="11827" r:id="rId16"/>
    <p:sldId id="11829" r:id="rId17"/>
    <p:sldId id="11828" r:id="rId18"/>
    <p:sldId id="11831" r:id="rId19"/>
    <p:sldId id="11844" r:id="rId20"/>
    <p:sldId id="11830" r:id="rId21"/>
    <p:sldId id="11832" r:id="rId22"/>
    <p:sldId id="11849" r:id="rId23"/>
    <p:sldId id="11850" r:id="rId24"/>
    <p:sldId id="11851" r:id="rId25"/>
    <p:sldId id="11856" r:id="rId26"/>
    <p:sldId id="11838" r:id="rId27"/>
    <p:sldId id="11845" r:id="rId28"/>
    <p:sldId id="11847" r:id="rId29"/>
    <p:sldId id="11846" r:id="rId30"/>
    <p:sldId id="11843" r:id="rId31"/>
    <p:sldId id="632" r:id="rId32"/>
  </p:sldIdLst>
  <p:sldSz cx="12192000" cy="6858000"/>
  <p:notesSz cx="6858000" cy="9144000"/>
  <p:custDataLst>
    <p:tags r:id="rId3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ernehmenspräsentation" id="{69B21D0F-BDF2-4C6A-B980-4BA8B6763D94}">
          <p14:sldIdLst>
            <p14:sldId id="527"/>
            <p14:sldId id="11823"/>
            <p14:sldId id="11816"/>
            <p14:sldId id="11826"/>
            <p14:sldId id="4348"/>
            <p14:sldId id="11818"/>
            <p14:sldId id="11824"/>
            <p14:sldId id="11756"/>
            <p14:sldId id="11825"/>
            <p14:sldId id="11857"/>
            <p14:sldId id="11827"/>
            <p14:sldId id="11829"/>
            <p14:sldId id="11828"/>
            <p14:sldId id="11831"/>
            <p14:sldId id="11844"/>
            <p14:sldId id="11830"/>
            <p14:sldId id="11832"/>
            <p14:sldId id="11849"/>
            <p14:sldId id="11850"/>
            <p14:sldId id="11851"/>
            <p14:sldId id="11856"/>
            <p14:sldId id="11838"/>
            <p14:sldId id="11845"/>
            <p14:sldId id="11847"/>
            <p14:sldId id="11846"/>
            <p14:sldId id="11843"/>
            <p14:sldId id="632"/>
          </p14:sldIdLst>
        </p14:section>
      </p14:sectionLst>
    </p:ext>
    <p:ext uri="{EFAFB233-063F-42B5-8137-9DF3F51BA10A}">
      <p15:sldGuideLst xmlns:p15="http://schemas.microsoft.com/office/powerpoint/2012/main">
        <p15:guide id="10" orient="horz" pos="2636" userDrawn="1">
          <p15:clr>
            <a:srgbClr val="A4A3A4"/>
          </p15:clr>
        </p15:guide>
        <p15:guide id="11" pos="1164" userDrawn="1">
          <p15:clr>
            <a:srgbClr val="A4A3A4"/>
          </p15:clr>
        </p15:guide>
        <p15:guide id="12" orient="horz" pos="2886" userDrawn="1">
          <p15:clr>
            <a:srgbClr val="A4A3A4"/>
          </p15:clr>
        </p15:guide>
        <p15:guide id="13" orient="horz" pos="2228" userDrawn="1">
          <p15:clr>
            <a:srgbClr val="A4A3A4"/>
          </p15:clr>
        </p15:guide>
        <p15:guide id="14" orient="horz" pos="1933" userDrawn="1">
          <p15:clr>
            <a:srgbClr val="A4A3A4"/>
          </p15:clr>
        </p15:guide>
        <p15:guide id="15" orient="horz" pos="1752" userDrawn="1">
          <p15:clr>
            <a:srgbClr val="A4A3A4"/>
          </p15:clr>
        </p15:guide>
        <p15:guide id="16" pos="3296" userDrawn="1">
          <p15:clr>
            <a:srgbClr val="A4A3A4"/>
          </p15:clr>
        </p15:guide>
        <p15:guide id="17" pos="12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3976921-FA9B-89B9-204D-6E0DDB2BE9FE}" name="Camila Gurmendi" initials="CG" userId="S::Camila.Gurmendi@baywa-re.com::864ca6ad-3a96-4c6c-8481-4f7bb2cd9ed0" providerId="AD"/>
  <p188:author id="{F6D0ED43-B2A2-7BFA-9EC1-BDF733E87BB9}" name="Weronica Andersson" initials="WA" userId="S::weronica.andersson@baywa-re.com::2db688d5-17f7-49ce-bb34-44d9b7a5f039" providerId="AD"/>
  <p188:author id="{68492487-A1F8-6B71-AC63-7245D728376F}" name="Anna Isberg" initials="AI" userId="S::Anna.Isberg@baywa-re.com::65ad7aca-cc41-4464-a5a8-7d19dacd138d" providerId="AD"/>
  <p188:author id="{F8FF998C-0053-F7E1-08D9-F43B4194D073}" name="Gabriella Nilsson" initials="GN" userId="S::Gabriella.Nilsson@baywa-re.com::53371305-b4ff-48fc-aced-0e2162e247c3" providerId="AD"/>
  <p188:author id="{30139199-7A84-6AF5-6E8D-EB56E4183454}" name="Anna Isberg" initials="AI" userId="S::anna.isberg@baywa-re.com::65ad7aca-cc41-4464-a5a8-7d19dacd138d" providerId="AD"/>
  <p188:author id="{0911289E-51E8-7B7D-7D7B-AB74C01BFA8C}" name="Linda Laine" initials="LL" userId="S::Linda.Laine@baywa-re.com::ebc4109e-f52e-4974-923c-268d43fe982e" providerId="AD"/>
  <p188:author id="{6F4074D3-BBB7-688D-CE8F-BF99ECEB1793}" name="Mathilde Henriksen" initials="MH" userId="S::mathilde.henriksen@baywa-re.com::07a98a74-a070-4bfd-a86b-d76a816f2a64" providerId="AD"/>
  <p188:author id="{07AAAAE5-57CC-EE57-6835-3C94CAF05100}" name="Johan Kristensson" initials="JK" userId="S::Johan.Kristensson@baywa-re.com::7373806c-c01c-4361-967c-96a4cbb6a91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Richard Sseruwagi" initials="RS" lastIdx="2" clrIdx="6">
    <p:extLst>
      <p:ext uri="{19B8F6BF-5375-455C-9EA6-DF929625EA0E}">
        <p15:presenceInfo xmlns:p15="http://schemas.microsoft.com/office/powerpoint/2012/main" userId="S::Richard.Sseruwagi@baywa-re.com::b6d14460-202b-41b8-872a-0bb349251504" providerId="AD"/>
      </p:ext>
    </p:extLst>
  </p:cmAuthor>
  <p:cmAuthor id="1" name="Cristin Anthes" initials="CA" lastIdx="39" clrIdx="0">
    <p:extLst>
      <p:ext uri="{19B8F6BF-5375-455C-9EA6-DF929625EA0E}">
        <p15:presenceInfo xmlns:p15="http://schemas.microsoft.com/office/powerpoint/2012/main" userId="S::Cristin.Anthes@baywa-re.com::ea11e1d3-26e6-40d5-b9aa-e7ff5a370055" providerId="AD"/>
      </p:ext>
    </p:extLst>
  </p:cmAuthor>
  <p:cmAuthor id="2" name="Malte Milbradt" initials="MM" lastIdx="1" clrIdx="1">
    <p:extLst>
      <p:ext uri="{19B8F6BF-5375-455C-9EA6-DF929625EA0E}">
        <p15:presenceInfo xmlns:p15="http://schemas.microsoft.com/office/powerpoint/2012/main" userId="S-1-5-21-2900290652-3162160026-1438150922-2374" providerId="AD"/>
      </p:ext>
    </p:extLst>
  </p:cmAuthor>
  <p:cmAuthor id="3" name="Stephan Braig" initials="SB" lastIdx="17" clrIdx="2">
    <p:extLst>
      <p:ext uri="{19B8F6BF-5375-455C-9EA6-DF929625EA0E}">
        <p15:presenceInfo xmlns:p15="http://schemas.microsoft.com/office/powerpoint/2012/main" userId="S::Stephan.Braig@baywa-re.com::40814218-c589-4c60-98a1-5859b8119097" providerId="AD"/>
      </p:ext>
    </p:extLst>
  </p:cmAuthor>
  <p:cmAuthor id="4" name="Felix Gmelin" initials="FG" lastIdx="8" clrIdx="3">
    <p:extLst>
      <p:ext uri="{19B8F6BF-5375-455C-9EA6-DF929625EA0E}">
        <p15:presenceInfo xmlns:p15="http://schemas.microsoft.com/office/powerpoint/2012/main" userId="S::Felix.Gmelin@baywa-re.com::47c8c3b8-9813-4285-b0cd-0e02a2901752" providerId="AD"/>
      </p:ext>
    </p:extLst>
  </p:cmAuthor>
  <p:cmAuthor id="5" name="Suzanne Bennett" initials="SB" lastIdx="3" clrIdx="4">
    <p:extLst>
      <p:ext uri="{19B8F6BF-5375-455C-9EA6-DF929625EA0E}">
        <p15:presenceInfo xmlns:p15="http://schemas.microsoft.com/office/powerpoint/2012/main" userId="dab583a18c4a488c" providerId="Windows Live"/>
      </p:ext>
    </p:extLst>
  </p:cmAuthor>
  <p:cmAuthor id="6" name="Benjamin Berg" initials="BB" lastIdx="60" clrIdx="5">
    <p:extLst>
      <p:ext uri="{19B8F6BF-5375-455C-9EA6-DF929625EA0E}">
        <p15:presenceInfo xmlns:p15="http://schemas.microsoft.com/office/powerpoint/2012/main" userId="S::Benjamin.Berg@baywa-re.com::bc9c58b2-93ce-444b-88e6-59baff0a9f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8B90F"/>
    <a:srgbClr val="92D050"/>
    <a:srgbClr val="595959"/>
    <a:srgbClr val="008C46"/>
    <a:srgbClr val="FAD900"/>
    <a:srgbClr val="FF0000"/>
    <a:srgbClr val="FF2929"/>
    <a:srgbClr val="F14F23"/>
    <a:srgbClr val="EFC425"/>
    <a:srgbClr val="3F3F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DA691F-D7B5-E473-7F6E-7B547E4E16C2}" v="57" dt="2024-02-21T12:48:18.738"/>
    <p1510:client id="{192DC127-F856-DA11-0AD0-34C1B6256262}" v="483" dt="2024-02-21T12:43:54.305"/>
    <p1510:client id="{408F7A7E-CE8E-5D3C-EBCB-F66331C05651}" v="145" dt="2024-02-22T12:10:42.025"/>
    <p1510:client id="{7CDE2156-AC88-69DD-C7D6-F91B7B07227B}" v="54" dt="2024-02-22T15:59:58.058"/>
    <p1510:client id="{8FDD1431-FF9B-AA3B-8458-BF7A729804E1}" v="64" dt="2024-02-21T16:06:43.668"/>
    <p1510:client id="{A78BAF97-6482-822E-EE46-1AF039AEE3AB}" v="6" dt="2024-02-21T21:15:44.566"/>
    <p1510:client id="{ADA1AB8A-F3B1-2164-4B3D-839B88C40648}" v="9" dt="2024-02-21T10:23:10.246"/>
    <p1510:client id="{D0D9F78A-3C9B-9720-0B8E-A58811028172}" v="6" dt="2024-02-22T16:30:12.597"/>
  </p1510:revLst>
</p1510:revInfo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4076" autoAdjust="0"/>
  </p:normalViewPr>
  <p:slideViewPr>
    <p:cSldViewPr snapToGrid="0">
      <p:cViewPr varScale="1">
        <p:scale>
          <a:sx n="56" d="100"/>
          <a:sy n="56" d="100"/>
        </p:scale>
        <p:origin x="1044" y="48"/>
      </p:cViewPr>
      <p:guideLst>
        <p:guide orient="horz" pos="2636"/>
        <p:guide pos="1164"/>
        <p:guide orient="horz" pos="2886"/>
        <p:guide orient="horz" pos="2228"/>
        <p:guide orient="horz" pos="1933"/>
        <p:guide orient="horz" pos="1752"/>
        <p:guide pos="3296"/>
        <p:guide pos="125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heme" Target="theme/theme1.xml"/><Relationship Id="rId21" Type="http://schemas.openxmlformats.org/officeDocument/2006/relationships/slide" Target="slides/slide16.xml"/><Relationship Id="rId34" Type="http://schemas.openxmlformats.org/officeDocument/2006/relationships/handoutMaster" Target="handoutMasters/handoutMaster1.xml"/><Relationship Id="rId42" Type="http://schemas.microsoft.com/office/2015/10/relationships/revisionInfo" Target="revisionInfo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gs" Target="tags/tag1.xml"/><Relationship Id="rId43" Type="http://schemas.microsoft.com/office/2018/10/relationships/authors" Target="author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briella Nilsson" userId="53371305-b4ff-48fc-aced-0e2162e247c3" providerId="ADAL" clId="{99ED093B-13A7-4AD9-B94B-B6B562A5BD2A}"/>
    <pc:docChg chg="undo custSel modSld">
      <pc:chgData name="Gabriella Nilsson" userId="53371305-b4ff-48fc-aced-0e2162e247c3" providerId="ADAL" clId="{99ED093B-13A7-4AD9-B94B-B6B562A5BD2A}" dt="2024-02-16T08:08:01.200" v="943" actId="6549"/>
      <pc:docMkLst>
        <pc:docMk/>
      </pc:docMkLst>
      <pc:sldChg chg="addCm">
        <pc:chgData name="Gabriella Nilsson" userId="53371305-b4ff-48fc-aced-0e2162e247c3" providerId="ADAL" clId="{99ED093B-13A7-4AD9-B94B-B6B562A5BD2A}" dt="2024-02-16T07:17:24.146" v="229"/>
        <pc:sldMkLst>
          <pc:docMk/>
          <pc:sldMk cId="4056726798" sldId="52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Gabriella Nilsson" userId="53371305-b4ff-48fc-aced-0e2162e247c3" providerId="ADAL" clId="{99ED093B-13A7-4AD9-B94B-B6B562A5BD2A}" dt="2024-02-16T07:17:24.146" v="229"/>
              <pc2:cmMkLst xmlns:pc2="http://schemas.microsoft.com/office/powerpoint/2019/9/main/command">
                <pc:docMk/>
                <pc:sldMk cId="4056726798" sldId="527"/>
                <pc2:cmMk id="{06315F40-006D-4688-BDE5-49DA1D3FD214}"/>
              </pc2:cmMkLst>
            </pc226:cmChg>
          </p:ext>
        </pc:extLst>
      </pc:sldChg>
      <pc:sldChg chg="modSp mod">
        <pc:chgData name="Gabriella Nilsson" userId="53371305-b4ff-48fc-aced-0e2162e247c3" providerId="ADAL" clId="{99ED093B-13A7-4AD9-B94B-B6B562A5BD2A}" dt="2024-02-16T08:06:22.391" v="862" actId="6549"/>
        <pc:sldMkLst>
          <pc:docMk/>
          <pc:sldMk cId="2809301111" sldId="632"/>
        </pc:sldMkLst>
        <pc:spChg chg="mod">
          <ac:chgData name="Gabriella Nilsson" userId="53371305-b4ff-48fc-aced-0e2162e247c3" providerId="ADAL" clId="{99ED093B-13A7-4AD9-B94B-B6B562A5BD2A}" dt="2024-02-16T08:06:22.391" v="862" actId="6549"/>
          <ac:spMkLst>
            <pc:docMk/>
            <pc:sldMk cId="2809301111" sldId="632"/>
            <ac:spMk id="3" creationId="{47E89CBB-8A04-1AB0-4A8B-5828495F6ADC}"/>
          </ac:spMkLst>
        </pc:spChg>
      </pc:sldChg>
      <pc:sldChg chg="modSp mod">
        <pc:chgData name="Gabriella Nilsson" userId="53371305-b4ff-48fc-aced-0e2162e247c3" providerId="ADAL" clId="{99ED093B-13A7-4AD9-B94B-B6B562A5BD2A}" dt="2024-02-15T07:52:01.341" v="14" actId="1076"/>
        <pc:sldMkLst>
          <pc:docMk/>
          <pc:sldMk cId="744096859" sldId="4348"/>
        </pc:sldMkLst>
        <pc:spChg chg="mod">
          <ac:chgData name="Gabriella Nilsson" userId="53371305-b4ff-48fc-aced-0e2162e247c3" providerId="ADAL" clId="{99ED093B-13A7-4AD9-B94B-B6B562A5BD2A}" dt="2024-02-15T07:52:01.341" v="14" actId="1076"/>
          <ac:spMkLst>
            <pc:docMk/>
            <pc:sldMk cId="744096859" sldId="4348"/>
            <ac:spMk id="14" creationId="{F072025F-1CA4-4236-9FC8-3853673489E8}"/>
          </ac:spMkLst>
        </pc:spChg>
        <pc:spChg chg="mod">
          <ac:chgData name="Gabriella Nilsson" userId="53371305-b4ff-48fc-aced-0e2162e247c3" providerId="ADAL" clId="{99ED093B-13A7-4AD9-B94B-B6B562A5BD2A}" dt="2024-02-15T07:51:38.042" v="13" actId="1076"/>
          <ac:spMkLst>
            <pc:docMk/>
            <pc:sldMk cId="744096859" sldId="4348"/>
            <ac:spMk id="25" creationId="{7BAAB36F-B277-4DF0-90DE-DECB04F99E76}"/>
          </ac:spMkLst>
        </pc:spChg>
      </pc:sldChg>
      <pc:sldChg chg="modSp mod addCm">
        <pc:chgData name="Gabriella Nilsson" userId="53371305-b4ff-48fc-aced-0e2162e247c3" providerId="ADAL" clId="{99ED093B-13A7-4AD9-B94B-B6B562A5BD2A}" dt="2024-02-15T07:58:12.747" v="18"/>
        <pc:sldMkLst>
          <pc:docMk/>
          <pc:sldMk cId="3115884079" sldId="11756"/>
        </pc:sldMkLst>
        <pc:spChg chg="mod">
          <ac:chgData name="Gabriella Nilsson" userId="53371305-b4ff-48fc-aced-0e2162e247c3" providerId="ADAL" clId="{99ED093B-13A7-4AD9-B94B-B6B562A5BD2A}" dt="2024-02-15T07:55:23.691" v="17" actId="12"/>
          <ac:spMkLst>
            <pc:docMk/>
            <pc:sldMk cId="3115884079" sldId="11756"/>
            <ac:spMk id="3" creationId="{840D1772-98AD-D71E-7E58-05F1A917BFA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Gabriella Nilsson" userId="53371305-b4ff-48fc-aced-0e2162e247c3" providerId="ADAL" clId="{99ED093B-13A7-4AD9-B94B-B6B562A5BD2A}" dt="2024-02-15T07:58:12.747" v="18"/>
              <pc2:cmMkLst xmlns:pc2="http://schemas.microsoft.com/office/powerpoint/2019/9/main/command">
                <pc:docMk/>
                <pc:sldMk cId="3115884079" sldId="11756"/>
                <pc2:cmMk id="{84E71C97-5301-48CA-8A04-FB2CF352B285}"/>
              </pc2:cmMkLst>
            </pc226:cmChg>
          </p:ext>
        </pc:extLst>
      </pc:sldChg>
      <pc:sldChg chg="modSp mod">
        <pc:chgData name="Gabriella Nilsson" userId="53371305-b4ff-48fc-aced-0e2162e247c3" providerId="ADAL" clId="{99ED093B-13A7-4AD9-B94B-B6B562A5BD2A}" dt="2024-02-15T07:49:13.145" v="9" actId="108"/>
        <pc:sldMkLst>
          <pc:docMk/>
          <pc:sldMk cId="1438822100" sldId="11816"/>
        </pc:sldMkLst>
        <pc:spChg chg="mod">
          <ac:chgData name="Gabriella Nilsson" userId="53371305-b4ff-48fc-aced-0e2162e247c3" providerId="ADAL" clId="{99ED093B-13A7-4AD9-B94B-B6B562A5BD2A}" dt="2024-02-15T07:49:13.145" v="9" actId="108"/>
          <ac:spMkLst>
            <pc:docMk/>
            <pc:sldMk cId="1438822100" sldId="11816"/>
            <ac:spMk id="10" creationId="{6089B662-5E93-4987-80DB-AC06B9395210}"/>
          </ac:spMkLst>
        </pc:spChg>
      </pc:sldChg>
      <pc:sldChg chg="modSp mod addCm">
        <pc:chgData name="Gabriella Nilsson" userId="53371305-b4ff-48fc-aced-0e2162e247c3" providerId="ADAL" clId="{99ED093B-13A7-4AD9-B94B-B6B562A5BD2A}" dt="2024-02-15T07:51:13.894" v="12"/>
        <pc:sldMkLst>
          <pc:docMk/>
          <pc:sldMk cId="193742719" sldId="11823"/>
        </pc:sldMkLst>
        <pc:spChg chg="mod">
          <ac:chgData name="Gabriella Nilsson" userId="53371305-b4ff-48fc-aced-0e2162e247c3" providerId="ADAL" clId="{99ED093B-13A7-4AD9-B94B-B6B562A5BD2A}" dt="2024-02-15T07:50:35.130" v="11" actId="20577"/>
          <ac:spMkLst>
            <pc:docMk/>
            <pc:sldMk cId="193742719" sldId="11823"/>
            <ac:spMk id="6" creationId="{B81E1E31-D7EE-4E76-A2F8-A502C1DEB6F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Gabriella Nilsson" userId="53371305-b4ff-48fc-aced-0e2162e247c3" providerId="ADAL" clId="{99ED093B-13A7-4AD9-B94B-B6B562A5BD2A}" dt="2024-02-15T07:50:30.938" v="10"/>
              <pc2:cmMkLst xmlns:pc2="http://schemas.microsoft.com/office/powerpoint/2019/9/main/command">
                <pc:docMk/>
                <pc:sldMk cId="193742719" sldId="11823"/>
                <pc2:cmMk id="{1117E358-BBE7-48AE-A435-B7ADD8DF39EE}"/>
              </pc2:cmMkLst>
            </pc226:cmChg>
            <pc226:cmChg xmlns:pc226="http://schemas.microsoft.com/office/powerpoint/2022/06/main/command" chg="add">
              <pc226:chgData name="Gabriella Nilsson" userId="53371305-b4ff-48fc-aced-0e2162e247c3" providerId="ADAL" clId="{99ED093B-13A7-4AD9-B94B-B6B562A5BD2A}" dt="2024-02-15T07:51:13.894" v="12"/>
              <pc2:cmMkLst xmlns:pc2="http://schemas.microsoft.com/office/powerpoint/2019/9/main/command">
                <pc:docMk/>
                <pc:sldMk cId="193742719" sldId="11823"/>
                <pc2:cmMk id="{D6827B82-EFCB-43F6-8360-AE5CEA1D6A08}"/>
              </pc2:cmMkLst>
            </pc226:cmChg>
          </p:ext>
        </pc:extLst>
      </pc:sldChg>
      <pc:sldChg chg="addCm">
        <pc:chgData name="Gabriella Nilsson" userId="53371305-b4ff-48fc-aced-0e2162e247c3" providerId="ADAL" clId="{99ED093B-13A7-4AD9-B94B-B6B562A5BD2A}" dt="2024-02-15T07:53:45.243" v="15"/>
        <pc:sldMkLst>
          <pc:docMk/>
          <pc:sldMk cId="3640258465" sldId="1182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Gabriella Nilsson" userId="53371305-b4ff-48fc-aced-0e2162e247c3" providerId="ADAL" clId="{99ED093B-13A7-4AD9-B94B-B6B562A5BD2A}" dt="2024-02-15T07:53:45.243" v="15"/>
              <pc2:cmMkLst xmlns:pc2="http://schemas.microsoft.com/office/powerpoint/2019/9/main/command">
                <pc:docMk/>
                <pc:sldMk cId="3640258465" sldId="11824"/>
                <pc2:cmMk id="{7A903691-EEFE-4810-8FA9-191208E9892D}"/>
              </pc2:cmMkLst>
            </pc226:cmChg>
          </p:ext>
        </pc:extLst>
      </pc:sldChg>
      <pc:sldChg chg="modSp mod">
        <pc:chgData name="Gabriella Nilsson" userId="53371305-b4ff-48fc-aced-0e2162e247c3" providerId="ADAL" clId="{99ED093B-13A7-4AD9-B94B-B6B562A5BD2A}" dt="2024-02-15T07:59:21.201" v="45" actId="20577"/>
        <pc:sldMkLst>
          <pc:docMk/>
          <pc:sldMk cId="442533751" sldId="11825"/>
        </pc:sldMkLst>
        <pc:spChg chg="mod">
          <ac:chgData name="Gabriella Nilsson" userId="53371305-b4ff-48fc-aced-0e2162e247c3" providerId="ADAL" clId="{99ED093B-13A7-4AD9-B94B-B6B562A5BD2A}" dt="2024-02-15T07:59:21.201" v="45" actId="20577"/>
          <ac:spMkLst>
            <pc:docMk/>
            <pc:sldMk cId="442533751" sldId="11825"/>
            <ac:spMk id="3" creationId="{840D1772-98AD-D71E-7E58-05F1A917BFAA}"/>
          </ac:spMkLst>
        </pc:spChg>
      </pc:sldChg>
      <pc:sldChg chg="modSp mod">
        <pc:chgData name="Gabriella Nilsson" userId="53371305-b4ff-48fc-aced-0e2162e247c3" providerId="ADAL" clId="{99ED093B-13A7-4AD9-B94B-B6B562A5BD2A}" dt="2024-02-15T08:00:41.638" v="46" actId="20577"/>
        <pc:sldMkLst>
          <pc:docMk/>
          <pc:sldMk cId="1255473241" sldId="11829"/>
        </pc:sldMkLst>
        <pc:spChg chg="mod">
          <ac:chgData name="Gabriella Nilsson" userId="53371305-b4ff-48fc-aced-0e2162e247c3" providerId="ADAL" clId="{99ED093B-13A7-4AD9-B94B-B6B562A5BD2A}" dt="2024-02-15T08:00:41.638" v="46" actId="20577"/>
          <ac:spMkLst>
            <pc:docMk/>
            <pc:sldMk cId="1255473241" sldId="11829"/>
            <ac:spMk id="2" creationId="{961B0FBB-1CEE-21E7-F25D-194CAE20F8EC}"/>
          </ac:spMkLst>
        </pc:spChg>
      </pc:sldChg>
      <pc:sldChg chg="modSp mod">
        <pc:chgData name="Gabriella Nilsson" userId="53371305-b4ff-48fc-aced-0e2162e247c3" providerId="ADAL" clId="{99ED093B-13A7-4AD9-B94B-B6B562A5BD2A}" dt="2024-02-16T07:11:19.896" v="218" actId="6549"/>
        <pc:sldMkLst>
          <pc:docMk/>
          <pc:sldMk cId="4283948165" sldId="11830"/>
        </pc:sldMkLst>
        <pc:spChg chg="mod">
          <ac:chgData name="Gabriella Nilsson" userId="53371305-b4ff-48fc-aced-0e2162e247c3" providerId="ADAL" clId="{99ED093B-13A7-4AD9-B94B-B6B562A5BD2A}" dt="2024-02-16T07:11:19.896" v="218" actId="6549"/>
          <ac:spMkLst>
            <pc:docMk/>
            <pc:sldMk cId="4283948165" sldId="11830"/>
            <ac:spMk id="8" creationId="{12CB2B05-6D94-1E05-4EBF-5A5895EE28DF}"/>
          </ac:spMkLst>
        </pc:spChg>
      </pc:sldChg>
      <pc:sldChg chg="modSp mod addCm modCm">
        <pc:chgData name="Gabriella Nilsson" userId="53371305-b4ff-48fc-aced-0e2162e247c3" providerId="ADAL" clId="{99ED093B-13A7-4AD9-B94B-B6B562A5BD2A}" dt="2024-02-16T07:17:58.370" v="230"/>
        <pc:sldMkLst>
          <pc:docMk/>
          <pc:sldMk cId="539130889" sldId="11831"/>
        </pc:sldMkLst>
        <pc:spChg chg="mod">
          <ac:chgData name="Gabriella Nilsson" userId="53371305-b4ff-48fc-aced-0e2162e247c3" providerId="ADAL" clId="{99ED093B-13A7-4AD9-B94B-B6B562A5BD2A}" dt="2024-02-16T07:06:44.072" v="66" actId="6549"/>
          <ac:spMkLst>
            <pc:docMk/>
            <pc:sldMk cId="539130889" sldId="11831"/>
            <ac:spMk id="7" creationId="{D1D3C367-EEC5-ACE2-6F4C-38F5DAE53F1F}"/>
          </ac:spMkLst>
        </pc:spChg>
        <pc:spChg chg="mod">
          <ac:chgData name="Gabriella Nilsson" userId="53371305-b4ff-48fc-aced-0e2162e247c3" providerId="ADAL" clId="{99ED093B-13A7-4AD9-B94B-B6B562A5BD2A}" dt="2024-02-16T07:07:22.967" v="103" actId="20577"/>
          <ac:spMkLst>
            <pc:docMk/>
            <pc:sldMk cId="539130889" sldId="11831"/>
            <ac:spMk id="8" creationId="{DFA8605D-DC48-836C-B81B-A6BDB203DD69}"/>
          </ac:spMkLst>
        </pc:spChg>
        <pc:spChg chg="mod">
          <ac:chgData name="Gabriella Nilsson" userId="53371305-b4ff-48fc-aced-0e2162e247c3" providerId="ADAL" clId="{99ED093B-13A7-4AD9-B94B-B6B562A5BD2A}" dt="2024-02-16T07:09:26.546" v="214" actId="20577"/>
          <ac:spMkLst>
            <pc:docMk/>
            <pc:sldMk cId="539130889" sldId="11831"/>
            <ac:spMk id="17" creationId="{7C53F789-0DAE-F2D8-D131-08FE6BCB47B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Gabriella Nilsson" userId="53371305-b4ff-48fc-aced-0e2162e247c3" providerId="ADAL" clId="{99ED093B-13A7-4AD9-B94B-B6B562A5BD2A}" dt="2024-02-16T07:17:58.370" v="230"/>
              <pc2:cmMkLst xmlns:pc2="http://schemas.microsoft.com/office/powerpoint/2019/9/main/command">
                <pc:docMk/>
                <pc:sldMk cId="539130889" sldId="11831"/>
                <pc2:cmMk id="{2C14575F-DEF7-41CD-82CD-BEDA9FD9925D}"/>
              </pc2:cmMkLst>
            </pc226:cmChg>
          </p:ext>
        </pc:extLst>
      </pc:sldChg>
      <pc:sldChg chg="modSp mod">
        <pc:chgData name="Gabriella Nilsson" userId="53371305-b4ff-48fc-aced-0e2162e247c3" providerId="ADAL" clId="{99ED093B-13A7-4AD9-B94B-B6B562A5BD2A}" dt="2024-02-16T07:18:34.805" v="263" actId="20577"/>
        <pc:sldMkLst>
          <pc:docMk/>
          <pc:sldMk cId="4073491896" sldId="11832"/>
        </pc:sldMkLst>
        <pc:spChg chg="mod">
          <ac:chgData name="Gabriella Nilsson" userId="53371305-b4ff-48fc-aced-0e2162e247c3" providerId="ADAL" clId="{99ED093B-13A7-4AD9-B94B-B6B562A5BD2A}" dt="2024-02-16T07:18:34.805" v="263" actId="20577"/>
          <ac:spMkLst>
            <pc:docMk/>
            <pc:sldMk cId="4073491896" sldId="11832"/>
            <ac:spMk id="3" creationId="{ED32CE90-4872-52BC-A13C-75DBFED745DF}"/>
          </ac:spMkLst>
        </pc:spChg>
      </pc:sldChg>
      <pc:sldChg chg="modSp mod">
        <pc:chgData name="Gabriella Nilsson" userId="53371305-b4ff-48fc-aced-0e2162e247c3" providerId="ADAL" clId="{99ED093B-13A7-4AD9-B94B-B6B562A5BD2A}" dt="2024-02-16T07:19:06.224" v="265" actId="20577"/>
        <pc:sldMkLst>
          <pc:docMk/>
          <pc:sldMk cId="3942947842" sldId="11835"/>
        </pc:sldMkLst>
        <pc:spChg chg="mod">
          <ac:chgData name="Gabriella Nilsson" userId="53371305-b4ff-48fc-aced-0e2162e247c3" providerId="ADAL" clId="{99ED093B-13A7-4AD9-B94B-B6B562A5BD2A}" dt="2024-02-16T07:19:06.224" v="265" actId="20577"/>
          <ac:spMkLst>
            <pc:docMk/>
            <pc:sldMk cId="3942947842" sldId="11835"/>
            <ac:spMk id="2" creationId="{153248FF-F6F1-CAB8-2DDB-75A91664765C}"/>
          </ac:spMkLst>
        </pc:spChg>
      </pc:sldChg>
      <pc:sldChg chg="addCm">
        <pc:chgData name="Gabriella Nilsson" userId="53371305-b4ff-48fc-aced-0e2162e247c3" providerId="ADAL" clId="{99ED093B-13A7-4AD9-B94B-B6B562A5BD2A}" dt="2024-02-16T07:20:43.402" v="266"/>
        <pc:sldMkLst>
          <pc:docMk/>
          <pc:sldMk cId="885711964" sldId="1183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Gabriella Nilsson" userId="53371305-b4ff-48fc-aced-0e2162e247c3" providerId="ADAL" clId="{99ED093B-13A7-4AD9-B94B-B6B562A5BD2A}" dt="2024-02-16T07:20:43.402" v="266"/>
              <pc2:cmMkLst xmlns:pc2="http://schemas.microsoft.com/office/powerpoint/2019/9/main/command">
                <pc:docMk/>
                <pc:sldMk cId="885711964" sldId="11836"/>
                <pc2:cmMk id="{C636A265-5AB2-47F3-A8B5-A3C153B9873D}"/>
              </pc2:cmMkLst>
            </pc226:cmChg>
          </p:ext>
        </pc:extLst>
      </pc:sldChg>
      <pc:sldChg chg="modSp mod addCm delCm modCm">
        <pc:chgData name="Gabriella Nilsson" userId="53371305-b4ff-48fc-aced-0e2162e247c3" providerId="ADAL" clId="{99ED093B-13A7-4AD9-B94B-B6B562A5BD2A}" dt="2024-02-16T07:28:09.981" v="826"/>
        <pc:sldMkLst>
          <pc:docMk/>
          <pc:sldMk cId="1650431396" sldId="11838"/>
        </pc:sldMkLst>
        <pc:spChg chg="mod">
          <ac:chgData name="Gabriella Nilsson" userId="53371305-b4ff-48fc-aced-0e2162e247c3" providerId="ADAL" clId="{99ED093B-13A7-4AD9-B94B-B6B562A5BD2A}" dt="2024-02-16T07:27:32.214" v="825" actId="20577"/>
          <ac:spMkLst>
            <pc:docMk/>
            <pc:sldMk cId="1650431396" sldId="11838"/>
            <ac:spMk id="3" creationId="{4E8F4FF1-24F5-01AA-5D6A-481D091D339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Gabriella Nilsson" userId="53371305-b4ff-48fc-aced-0e2162e247c3" providerId="ADAL" clId="{99ED093B-13A7-4AD9-B94B-B6B562A5BD2A}" dt="2024-02-16T07:25:15.539" v="268"/>
              <pc2:cmMkLst xmlns:pc2="http://schemas.microsoft.com/office/powerpoint/2019/9/main/command">
                <pc:docMk/>
                <pc:sldMk cId="1650431396" sldId="11838"/>
                <pc2:cmMk id="{D3B8BD08-9281-4D61-AF8D-CC37C1D90B24}"/>
              </pc2:cmMkLst>
            </pc226:cmChg>
            <pc226:cmChg xmlns:pc226="http://schemas.microsoft.com/office/powerpoint/2022/06/main/command" chg="add">
              <pc226:chgData name="Gabriella Nilsson" userId="53371305-b4ff-48fc-aced-0e2162e247c3" providerId="ADAL" clId="{99ED093B-13A7-4AD9-B94B-B6B562A5BD2A}" dt="2024-02-16T07:28:09.981" v="826"/>
              <pc2:cmMkLst xmlns:pc2="http://schemas.microsoft.com/office/powerpoint/2019/9/main/command">
                <pc:docMk/>
                <pc:sldMk cId="1650431396" sldId="11838"/>
                <pc2:cmMk id="{607EED1B-9C1E-4B50-9F36-09189E1FA407}"/>
              </pc2:cmMkLst>
            </pc226:cmChg>
            <pc226:cmChg xmlns:pc226="http://schemas.microsoft.com/office/powerpoint/2022/06/main/command" chg="add">
              <pc226:chgData name="Gabriella Nilsson" userId="53371305-b4ff-48fc-aced-0e2162e247c3" providerId="ADAL" clId="{99ED093B-13A7-4AD9-B94B-B6B562A5BD2A}" dt="2024-02-16T07:15:43.353" v="228"/>
              <pc2:cmMkLst xmlns:pc2="http://schemas.microsoft.com/office/powerpoint/2019/9/main/command">
                <pc:docMk/>
                <pc:sldMk cId="1650431396" sldId="11838"/>
                <pc2:cmMk id="{1CF09F46-44D3-4FB2-8B2D-F9F16EDCAE27}"/>
              </pc2:cmMkLst>
            </pc226:cmChg>
            <pc226:cmChg xmlns:pc226="http://schemas.microsoft.com/office/powerpoint/2022/06/main/command" chg="add del">
              <pc226:chgData name="Gabriella Nilsson" userId="53371305-b4ff-48fc-aced-0e2162e247c3" providerId="ADAL" clId="{99ED093B-13A7-4AD9-B94B-B6B562A5BD2A}" dt="2024-02-16T07:15:25.764" v="227"/>
              <pc2:cmMkLst xmlns:pc2="http://schemas.microsoft.com/office/powerpoint/2019/9/main/command">
                <pc:docMk/>
                <pc:sldMk cId="1650431396" sldId="11838"/>
                <pc2:cmMk id="{71B490CE-E949-499A-8B32-8D822476BC20}"/>
              </pc2:cmMkLst>
            </pc226:cmChg>
          </p:ext>
        </pc:extLst>
      </pc:sldChg>
      <pc:sldChg chg="modSp mod">
        <pc:chgData name="Gabriella Nilsson" userId="53371305-b4ff-48fc-aced-0e2162e247c3" providerId="ADAL" clId="{99ED093B-13A7-4AD9-B94B-B6B562A5BD2A}" dt="2024-02-16T07:28:57.703" v="860" actId="6549"/>
        <pc:sldMkLst>
          <pc:docMk/>
          <pc:sldMk cId="4190903648" sldId="11840"/>
        </pc:sldMkLst>
        <pc:spChg chg="mod">
          <ac:chgData name="Gabriella Nilsson" userId="53371305-b4ff-48fc-aced-0e2162e247c3" providerId="ADAL" clId="{99ED093B-13A7-4AD9-B94B-B6B562A5BD2A}" dt="2024-02-16T07:28:57.703" v="860" actId="6549"/>
          <ac:spMkLst>
            <pc:docMk/>
            <pc:sldMk cId="4190903648" sldId="11840"/>
            <ac:spMk id="7" creationId="{299575EF-1A44-DBDC-AC4F-8D116953354F}"/>
          </ac:spMkLst>
        </pc:spChg>
      </pc:sldChg>
      <pc:sldChg chg="modSp mod">
        <pc:chgData name="Gabriella Nilsson" userId="53371305-b4ff-48fc-aced-0e2162e247c3" providerId="ADAL" clId="{99ED093B-13A7-4AD9-B94B-B6B562A5BD2A}" dt="2024-02-16T07:03:40.967" v="53" actId="20577"/>
        <pc:sldMkLst>
          <pc:docMk/>
          <pc:sldMk cId="3197931968" sldId="11841"/>
        </pc:sldMkLst>
        <pc:spChg chg="mod">
          <ac:chgData name="Gabriella Nilsson" userId="53371305-b4ff-48fc-aced-0e2162e247c3" providerId="ADAL" clId="{99ED093B-13A7-4AD9-B94B-B6B562A5BD2A}" dt="2024-02-16T07:03:40.967" v="53" actId="20577"/>
          <ac:spMkLst>
            <pc:docMk/>
            <pc:sldMk cId="3197931968" sldId="11841"/>
            <ac:spMk id="7" creationId="{EFD6BFDA-6F3F-CE6D-7E06-0952C9C2055F}"/>
          </ac:spMkLst>
        </pc:spChg>
      </pc:sldChg>
      <pc:sldChg chg="modSp mod addCm">
        <pc:chgData name="Gabriella Nilsson" userId="53371305-b4ff-48fc-aced-0e2162e247c3" providerId="ADAL" clId="{99ED093B-13A7-4AD9-B94B-B6B562A5BD2A}" dt="2024-02-16T07:06:23.464" v="57"/>
        <pc:sldMkLst>
          <pc:docMk/>
          <pc:sldMk cId="215511285" sldId="11842"/>
        </pc:sldMkLst>
        <pc:spChg chg="mod">
          <ac:chgData name="Gabriella Nilsson" userId="53371305-b4ff-48fc-aced-0e2162e247c3" providerId="ADAL" clId="{99ED093B-13A7-4AD9-B94B-B6B562A5BD2A}" dt="2024-02-16T07:03:17.792" v="50" actId="114"/>
          <ac:spMkLst>
            <pc:docMk/>
            <pc:sldMk cId="215511285" sldId="11842"/>
            <ac:spMk id="6" creationId="{1E48F6D6-51B8-DAF9-A0B1-D7F99412AED5}"/>
          </ac:spMkLst>
        </pc:spChg>
        <pc:spChg chg="mod">
          <ac:chgData name="Gabriella Nilsson" userId="53371305-b4ff-48fc-aced-0e2162e247c3" providerId="ADAL" clId="{99ED093B-13A7-4AD9-B94B-B6B562A5BD2A}" dt="2024-02-16T07:05:12.279" v="56" actId="20577"/>
          <ac:spMkLst>
            <pc:docMk/>
            <pc:sldMk cId="215511285" sldId="11842"/>
            <ac:spMk id="8" creationId="{92A2F30A-F07C-B9F6-69BC-8400685C396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Gabriella Nilsson" userId="53371305-b4ff-48fc-aced-0e2162e247c3" providerId="ADAL" clId="{99ED093B-13A7-4AD9-B94B-B6B562A5BD2A}" dt="2024-02-16T07:06:23.464" v="57"/>
              <pc2:cmMkLst xmlns:pc2="http://schemas.microsoft.com/office/powerpoint/2019/9/main/command">
                <pc:docMk/>
                <pc:sldMk cId="215511285" sldId="11842"/>
                <pc2:cmMk id="{21656D49-54EF-4AB1-8C58-41D9477E2FC1}"/>
              </pc2:cmMkLst>
            </pc226:cmChg>
          </p:ext>
        </pc:extLst>
      </pc:sldChg>
      <pc:sldChg chg="modSp mod">
        <pc:chgData name="Gabriella Nilsson" userId="53371305-b4ff-48fc-aced-0e2162e247c3" providerId="ADAL" clId="{99ED093B-13A7-4AD9-B94B-B6B562A5BD2A}" dt="2024-02-16T08:08:01.200" v="943" actId="6549"/>
        <pc:sldMkLst>
          <pc:docMk/>
          <pc:sldMk cId="296205890" sldId="11843"/>
        </pc:sldMkLst>
        <pc:spChg chg="mod">
          <ac:chgData name="Gabriella Nilsson" userId="53371305-b4ff-48fc-aced-0e2162e247c3" providerId="ADAL" clId="{99ED093B-13A7-4AD9-B94B-B6B562A5BD2A}" dt="2024-02-16T08:08:01.200" v="943" actId="6549"/>
          <ac:spMkLst>
            <pc:docMk/>
            <pc:sldMk cId="296205890" sldId="11843"/>
            <ac:spMk id="10" creationId="{311C007F-A77A-2420-2606-713E1117E520}"/>
          </ac:spMkLst>
        </pc:spChg>
      </pc:sldChg>
    </pc:docChg>
  </pc:docChgLst>
  <pc:docChgLst>
    <pc:chgData name="Sadzida Vrana" userId="8c32c596-1b4d-4da4-b31a-f796641544b7" providerId="ADAL" clId="{4447F655-4D1A-4872-93D8-8CB36D7FCB3C}"/>
    <pc:docChg chg="undo redo custSel addSld delSld modSld sldOrd modSection">
      <pc:chgData name="Sadzida Vrana" userId="8c32c596-1b4d-4da4-b31a-f796641544b7" providerId="ADAL" clId="{4447F655-4D1A-4872-93D8-8CB36D7FCB3C}" dt="2024-02-14T08:09:51.097" v="1624" actId="20577"/>
      <pc:docMkLst>
        <pc:docMk/>
      </pc:docMkLst>
      <pc:sldChg chg="del">
        <pc:chgData name="Sadzida Vrana" userId="8c32c596-1b4d-4da4-b31a-f796641544b7" providerId="ADAL" clId="{4447F655-4D1A-4872-93D8-8CB36D7FCB3C}" dt="2024-02-14T08:09:18.970" v="1611" actId="47"/>
        <pc:sldMkLst>
          <pc:docMk/>
          <pc:sldMk cId="3502781779" sldId="275"/>
        </pc:sldMkLst>
      </pc:sldChg>
      <pc:sldChg chg="del">
        <pc:chgData name="Sadzida Vrana" userId="8c32c596-1b4d-4da4-b31a-f796641544b7" providerId="ADAL" clId="{4447F655-4D1A-4872-93D8-8CB36D7FCB3C}" dt="2024-02-14T08:08:57.144" v="1606" actId="47"/>
        <pc:sldMkLst>
          <pc:docMk/>
          <pc:sldMk cId="2176172144" sldId="277"/>
        </pc:sldMkLst>
      </pc:sldChg>
      <pc:sldChg chg="del">
        <pc:chgData name="Sadzida Vrana" userId="8c32c596-1b4d-4da4-b31a-f796641544b7" providerId="ADAL" clId="{4447F655-4D1A-4872-93D8-8CB36D7FCB3C}" dt="2024-02-14T08:09:16.048" v="1608" actId="47"/>
        <pc:sldMkLst>
          <pc:docMk/>
          <pc:sldMk cId="3580721318" sldId="344"/>
        </pc:sldMkLst>
      </pc:sldChg>
      <pc:sldChg chg="del">
        <pc:chgData name="Sadzida Vrana" userId="8c32c596-1b4d-4da4-b31a-f796641544b7" providerId="ADAL" clId="{4447F655-4D1A-4872-93D8-8CB36D7FCB3C}" dt="2024-02-14T08:08:50.028" v="1605" actId="47"/>
        <pc:sldMkLst>
          <pc:docMk/>
          <pc:sldMk cId="1796553897" sldId="399"/>
        </pc:sldMkLst>
      </pc:sldChg>
      <pc:sldChg chg="del">
        <pc:chgData name="Sadzida Vrana" userId="8c32c596-1b4d-4da4-b31a-f796641544b7" providerId="ADAL" clId="{4447F655-4D1A-4872-93D8-8CB36D7FCB3C}" dt="2024-02-14T08:08:48.656" v="1604" actId="47"/>
        <pc:sldMkLst>
          <pc:docMk/>
          <pc:sldMk cId="827450277" sldId="400"/>
        </pc:sldMkLst>
      </pc:sldChg>
      <pc:sldChg chg="del">
        <pc:chgData name="Sadzida Vrana" userId="8c32c596-1b4d-4da4-b31a-f796641544b7" providerId="ADAL" clId="{4447F655-4D1A-4872-93D8-8CB36D7FCB3C}" dt="2024-02-14T08:09:17.197" v="1609" actId="47"/>
        <pc:sldMkLst>
          <pc:docMk/>
          <pc:sldMk cId="4075748545" sldId="402"/>
        </pc:sldMkLst>
      </pc:sldChg>
      <pc:sldChg chg="del">
        <pc:chgData name="Sadzida Vrana" userId="8c32c596-1b4d-4da4-b31a-f796641544b7" providerId="ADAL" clId="{4447F655-4D1A-4872-93D8-8CB36D7FCB3C}" dt="2024-02-14T08:09:18.130" v="1610" actId="47"/>
        <pc:sldMkLst>
          <pc:docMk/>
          <pc:sldMk cId="741009130" sldId="403"/>
        </pc:sldMkLst>
      </pc:sldChg>
      <pc:sldChg chg="del">
        <pc:chgData name="Sadzida Vrana" userId="8c32c596-1b4d-4da4-b31a-f796641544b7" providerId="ADAL" clId="{4447F655-4D1A-4872-93D8-8CB36D7FCB3C}" dt="2024-02-14T08:08:58.685" v="1607" actId="47"/>
        <pc:sldMkLst>
          <pc:docMk/>
          <pc:sldMk cId="1182972746" sldId="404"/>
        </pc:sldMkLst>
      </pc:sldChg>
      <pc:sldChg chg="del">
        <pc:chgData name="Sadzida Vrana" userId="8c32c596-1b4d-4da4-b31a-f796641544b7" providerId="ADAL" clId="{4447F655-4D1A-4872-93D8-8CB36D7FCB3C}" dt="2024-02-14T08:09:19.818" v="1612" actId="47"/>
        <pc:sldMkLst>
          <pc:docMk/>
          <pc:sldMk cId="3714375938" sldId="405"/>
        </pc:sldMkLst>
      </pc:sldChg>
      <pc:sldChg chg="del">
        <pc:chgData name="Sadzida Vrana" userId="8c32c596-1b4d-4da4-b31a-f796641544b7" providerId="ADAL" clId="{4447F655-4D1A-4872-93D8-8CB36D7FCB3C}" dt="2024-02-14T08:09:20.690" v="1613" actId="47"/>
        <pc:sldMkLst>
          <pc:docMk/>
          <pc:sldMk cId="4291431895" sldId="406"/>
        </pc:sldMkLst>
      </pc:sldChg>
      <pc:sldChg chg="delSp modSp mod">
        <pc:chgData name="Sadzida Vrana" userId="8c32c596-1b4d-4da4-b31a-f796641544b7" providerId="ADAL" clId="{4447F655-4D1A-4872-93D8-8CB36D7FCB3C}" dt="2024-02-13T20:40:19.329" v="659"/>
        <pc:sldMkLst>
          <pc:docMk/>
          <pc:sldMk cId="4056726798" sldId="527"/>
        </pc:sldMkLst>
        <pc:spChg chg="mod">
          <ac:chgData name="Sadzida Vrana" userId="8c32c596-1b4d-4da4-b31a-f796641544b7" providerId="ADAL" clId="{4447F655-4D1A-4872-93D8-8CB36D7FCB3C}" dt="2024-02-13T20:17:24.359" v="112" actId="20577"/>
          <ac:spMkLst>
            <pc:docMk/>
            <pc:sldMk cId="4056726798" sldId="527"/>
            <ac:spMk id="9" creationId="{D2A9C5EE-3203-4B5A-8CFC-DE60F5851DD0}"/>
          </ac:spMkLst>
        </pc:spChg>
        <pc:spChg chg="mod">
          <ac:chgData name="Sadzida Vrana" userId="8c32c596-1b4d-4da4-b31a-f796641544b7" providerId="ADAL" clId="{4447F655-4D1A-4872-93D8-8CB36D7FCB3C}" dt="2024-02-13T20:17:02.551" v="81" actId="20577"/>
          <ac:spMkLst>
            <pc:docMk/>
            <pc:sldMk cId="4056726798" sldId="527"/>
            <ac:spMk id="14" creationId="{E5E87BF3-6471-4DCD-8668-68FB4CE26090}"/>
          </ac:spMkLst>
        </pc:spChg>
        <pc:picChg chg="del">
          <ac:chgData name="Sadzida Vrana" userId="8c32c596-1b4d-4da4-b31a-f796641544b7" providerId="ADAL" clId="{4447F655-4D1A-4872-93D8-8CB36D7FCB3C}" dt="2024-02-13T20:40:19.329" v="659"/>
          <ac:picMkLst>
            <pc:docMk/>
            <pc:sldMk cId="4056726798" sldId="527"/>
            <ac:picMk id="4" creationId="{5D2B3E37-C46D-8D1A-4CAC-8F1567F717BC}"/>
          </ac:picMkLst>
        </pc:picChg>
      </pc:sldChg>
      <pc:sldChg chg="del">
        <pc:chgData name="Sadzida Vrana" userId="8c32c596-1b4d-4da4-b31a-f796641544b7" providerId="ADAL" clId="{4447F655-4D1A-4872-93D8-8CB36D7FCB3C}" dt="2024-02-13T20:39:18.319" v="654" actId="47"/>
        <pc:sldMkLst>
          <pc:docMk/>
          <pc:sldMk cId="1395950925" sldId="959"/>
        </pc:sldMkLst>
      </pc:sldChg>
      <pc:sldChg chg="del">
        <pc:chgData name="Sadzida Vrana" userId="8c32c596-1b4d-4da4-b31a-f796641544b7" providerId="ADAL" clId="{4447F655-4D1A-4872-93D8-8CB36D7FCB3C}" dt="2024-02-13T20:39:29.336" v="657" actId="47"/>
        <pc:sldMkLst>
          <pc:docMk/>
          <pc:sldMk cId="2509937749" sldId="1388"/>
        </pc:sldMkLst>
      </pc:sldChg>
      <pc:sldChg chg="del">
        <pc:chgData name="Sadzida Vrana" userId="8c32c596-1b4d-4da4-b31a-f796641544b7" providerId="ADAL" clId="{4447F655-4D1A-4872-93D8-8CB36D7FCB3C}" dt="2024-02-13T20:26:47.735" v="246" actId="47"/>
        <pc:sldMkLst>
          <pc:docMk/>
          <pc:sldMk cId="3060581120" sldId="2280"/>
        </pc:sldMkLst>
      </pc:sldChg>
      <pc:sldChg chg="del">
        <pc:chgData name="Sadzida Vrana" userId="8c32c596-1b4d-4da4-b31a-f796641544b7" providerId="ADAL" clId="{4447F655-4D1A-4872-93D8-8CB36D7FCB3C}" dt="2024-02-13T20:39:30.804" v="658" actId="47"/>
        <pc:sldMkLst>
          <pc:docMk/>
          <pc:sldMk cId="1724325344" sldId="2327"/>
        </pc:sldMkLst>
      </pc:sldChg>
      <pc:sldChg chg="addSp delSp modSp mod">
        <pc:chgData name="Sadzida Vrana" userId="8c32c596-1b4d-4da4-b31a-f796641544b7" providerId="ADAL" clId="{4447F655-4D1A-4872-93D8-8CB36D7FCB3C}" dt="2024-02-13T20:38:32.785" v="652" actId="313"/>
        <pc:sldMkLst>
          <pc:docMk/>
          <pc:sldMk cId="744096859" sldId="4348"/>
        </pc:sldMkLst>
        <pc:spChg chg="mod">
          <ac:chgData name="Sadzida Vrana" userId="8c32c596-1b4d-4da4-b31a-f796641544b7" providerId="ADAL" clId="{4447F655-4D1A-4872-93D8-8CB36D7FCB3C}" dt="2024-02-13T20:33:42.551" v="474" actId="1076"/>
          <ac:spMkLst>
            <pc:docMk/>
            <pc:sldMk cId="744096859" sldId="4348"/>
            <ac:spMk id="4" creationId="{B7D88472-76ED-4884-8DDC-1DD4549BA622}"/>
          </ac:spMkLst>
        </pc:spChg>
        <pc:spChg chg="mod">
          <ac:chgData name="Sadzida Vrana" userId="8c32c596-1b4d-4da4-b31a-f796641544b7" providerId="ADAL" clId="{4447F655-4D1A-4872-93D8-8CB36D7FCB3C}" dt="2024-02-13T20:35:55.249" v="579" actId="20577"/>
          <ac:spMkLst>
            <pc:docMk/>
            <pc:sldMk cId="744096859" sldId="4348"/>
            <ac:spMk id="6" creationId="{E1208EB2-FC1F-0B4B-A8D3-63EA0B676A01}"/>
          </ac:spMkLst>
        </pc:spChg>
        <pc:spChg chg="mod">
          <ac:chgData name="Sadzida Vrana" userId="8c32c596-1b4d-4da4-b31a-f796641544b7" providerId="ADAL" clId="{4447F655-4D1A-4872-93D8-8CB36D7FCB3C}" dt="2024-02-13T20:28:59.587" v="278" actId="20577"/>
          <ac:spMkLst>
            <pc:docMk/>
            <pc:sldMk cId="744096859" sldId="4348"/>
            <ac:spMk id="12" creationId="{4D794BC3-7E1D-46AB-9FB0-917E106988F3}"/>
          </ac:spMkLst>
        </pc:spChg>
        <pc:spChg chg="mod">
          <ac:chgData name="Sadzida Vrana" userId="8c32c596-1b4d-4da4-b31a-f796641544b7" providerId="ADAL" clId="{4447F655-4D1A-4872-93D8-8CB36D7FCB3C}" dt="2024-02-13T20:32:18.240" v="451" actId="207"/>
          <ac:spMkLst>
            <pc:docMk/>
            <pc:sldMk cId="744096859" sldId="4348"/>
            <ac:spMk id="14" creationId="{F072025F-1CA4-4236-9FC8-3853673489E8}"/>
          </ac:spMkLst>
        </pc:spChg>
        <pc:spChg chg="add mod">
          <ac:chgData name="Sadzida Vrana" userId="8c32c596-1b4d-4da4-b31a-f796641544b7" providerId="ADAL" clId="{4447F655-4D1A-4872-93D8-8CB36D7FCB3C}" dt="2024-02-13T20:37:07.612" v="610" actId="1076"/>
          <ac:spMkLst>
            <pc:docMk/>
            <pc:sldMk cId="744096859" sldId="4348"/>
            <ac:spMk id="15" creationId="{F1EC2ABF-5B3C-6123-F1F9-7A41A4E90FF4}"/>
          </ac:spMkLst>
        </pc:spChg>
        <pc:spChg chg="mod">
          <ac:chgData name="Sadzida Vrana" userId="8c32c596-1b4d-4da4-b31a-f796641544b7" providerId="ADAL" clId="{4447F655-4D1A-4872-93D8-8CB36D7FCB3C}" dt="2024-02-13T20:33:45.684" v="475" actId="1076"/>
          <ac:spMkLst>
            <pc:docMk/>
            <pc:sldMk cId="744096859" sldId="4348"/>
            <ac:spMk id="25" creationId="{7BAAB36F-B277-4DF0-90DE-DECB04F99E76}"/>
          </ac:spMkLst>
        </pc:spChg>
        <pc:spChg chg="del">
          <ac:chgData name="Sadzida Vrana" userId="8c32c596-1b4d-4da4-b31a-f796641544b7" providerId="ADAL" clId="{4447F655-4D1A-4872-93D8-8CB36D7FCB3C}" dt="2024-02-13T20:33:59.362" v="479" actId="21"/>
          <ac:spMkLst>
            <pc:docMk/>
            <pc:sldMk cId="744096859" sldId="4348"/>
            <ac:spMk id="26" creationId="{E8148BDF-EB3C-4E2F-A473-51EB3ADA63FC}"/>
          </ac:spMkLst>
        </pc:spChg>
        <pc:spChg chg="mod">
          <ac:chgData name="Sadzida Vrana" userId="8c32c596-1b4d-4da4-b31a-f796641544b7" providerId="ADAL" clId="{4447F655-4D1A-4872-93D8-8CB36D7FCB3C}" dt="2024-02-13T20:38:32.785" v="652" actId="313"/>
          <ac:spMkLst>
            <pc:docMk/>
            <pc:sldMk cId="744096859" sldId="4348"/>
            <ac:spMk id="40" creationId="{346E80D6-FA6A-468D-9C19-E0DD9949A63B}"/>
          </ac:spMkLst>
        </pc:spChg>
        <pc:spChg chg="mod">
          <ac:chgData name="Sadzida Vrana" userId="8c32c596-1b4d-4da4-b31a-f796641544b7" providerId="ADAL" clId="{4447F655-4D1A-4872-93D8-8CB36D7FCB3C}" dt="2024-02-13T20:32:47.129" v="467" actId="207"/>
          <ac:spMkLst>
            <pc:docMk/>
            <pc:sldMk cId="744096859" sldId="4348"/>
            <ac:spMk id="75" creationId="{5E63D738-6663-455B-BDC8-8DB7236BDC9D}"/>
          </ac:spMkLst>
        </pc:spChg>
        <pc:picChg chg="del">
          <ac:chgData name="Sadzida Vrana" userId="8c32c596-1b4d-4da4-b31a-f796641544b7" providerId="ADAL" clId="{4447F655-4D1A-4872-93D8-8CB36D7FCB3C}" dt="2024-02-13T20:33:55.906" v="478" actId="478"/>
          <ac:picMkLst>
            <pc:docMk/>
            <pc:sldMk cId="744096859" sldId="4348"/>
            <ac:picMk id="7" creationId="{8281F51E-F10E-4E48-85F1-CCB76D168650}"/>
          </ac:picMkLst>
        </pc:picChg>
        <pc:picChg chg="del">
          <ac:chgData name="Sadzida Vrana" userId="8c32c596-1b4d-4da4-b31a-f796641544b7" providerId="ADAL" clId="{4447F655-4D1A-4872-93D8-8CB36D7FCB3C}" dt="2024-02-13T20:29:35.230" v="342" actId="478"/>
          <ac:picMkLst>
            <pc:docMk/>
            <pc:sldMk cId="744096859" sldId="4348"/>
            <ac:picMk id="8" creationId="{E59AC489-F2E3-40D4-85A6-B34CB253D242}"/>
          </ac:picMkLst>
        </pc:picChg>
        <pc:picChg chg="add mod">
          <ac:chgData name="Sadzida Vrana" userId="8c32c596-1b4d-4da4-b31a-f796641544b7" providerId="ADAL" clId="{4447F655-4D1A-4872-93D8-8CB36D7FCB3C}" dt="2024-02-13T20:30:12.927" v="351" actId="1076"/>
          <ac:picMkLst>
            <pc:docMk/>
            <pc:sldMk cId="744096859" sldId="4348"/>
            <ac:picMk id="9" creationId="{8F08AB64-123B-D985-05EA-34D72315D280}"/>
          </ac:picMkLst>
        </pc:picChg>
        <pc:picChg chg="add del">
          <ac:chgData name="Sadzida Vrana" userId="8c32c596-1b4d-4da4-b31a-f796641544b7" providerId="ADAL" clId="{4447F655-4D1A-4872-93D8-8CB36D7FCB3C}" dt="2024-02-13T20:33:12.804" v="470" actId="478"/>
          <ac:picMkLst>
            <pc:docMk/>
            <pc:sldMk cId="744096859" sldId="4348"/>
            <ac:picMk id="10" creationId="{BAA584EB-EA31-284D-41D3-23B97A60279A}"/>
          </ac:picMkLst>
        </pc:picChg>
        <pc:picChg chg="add mod">
          <ac:chgData name="Sadzida Vrana" userId="8c32c596-1b4d-4da4-b31a-f796641544b7" providerId="ADAL" clId="{4447F655-4D1A-4872-93D8-8CB36D7FCB3C}" dt="2024-02-13T20:33:51.930" v="477" actId="1076"/>
          <ac:picMkLst>
            <pc:docMk/>
            <pc:sldMk cId="744096859" sldId="4348"/>
            <ac:picMk id="11" creationId="{4EBC24C4-3678-F84D-03AF-E2BC02726F5B}"/>
          </ac:picMkLst>
        </pc:picChg>
        <pc:picChg chg="del">
          <ac:chgData name="Sadzida Vrana" userId="8c32c596-1b4d-4da4-b31a-f796641544b7" providerId="ADAL" clId="{4447F655-4D1A-4872-93D8-8CB36D7FCB3C}" dt="2024-02-13T20:33:09.667" v="468" actId="478"/>
          <ac:picMkLst>
            <pc:docMk/>
            <pc:sldMk cId="744096859" sldId="4348"/>
            <ac:picMk id="37" creationId="{E40D745C-33F8-4AF1-BC7C-BCD736CA607C}"/>
          </ac:picMkLst>
        </pc:picChg>
        <pc:cxnChg chg="mod">
          <ac:chgData name="Sadzida Vrana" userId="8c32c596-1b4d-4da4-b31a-f796641544b7" providerId="ADAL" clId="{4447F655-4D1A-4872-93D8-8CB36D7FCB3C}" dt="2024-02-13T20:37:30.127" v="613" actId="1582"/>
          <ac:cxnSpMkLst>
            <pc:docMk/>
            <pc:sldMk cId="744096859" sldId="4348"/>
            <ac:cxnSpMk id="5" creationId="{925B5326-EF5F-4948-927D-B1F0568FC374}"/>
          </ac:cxnSpMkLst>
        </pc:cxnChg>
        <pc:cxnChg chg="mod">
          <ac:chgData name="Sadzida Vrana" userId="8c32c596-1b4d-4da4-b31a-f796641544b7" providerId="ADAL" clId="{4447F655-4D1A-4872-93D8-8CB36D7FCB3C}" dt="2024-02-13T20:37:38.775" v="614" actId="1582"/>
          <ac:cxnSpMkLst>
            <pc:docMk/>
            <pc:sldMk cId="744096859" sldId="4348"/>
            <ac:cxnSpMk id="13" creationId="{CE3A217B-0DFA-49B6-A055-C072837DC8B5}"/>
          </ac:cxnSpMkLst>
        </pc:cxnChg>
        <pc:cxnChg chg="mod">
          <ac:chgData name="Sadzida Vrana" userId="8c32c596-1b4d-4da4-b31a-f796641544b7" providerId="ADAL" clId="{4447F655-4D1A-4872-93D8-8CB36D7FCB3C}" dt="2024-02-13T20:37:47.224" v="616" actId="208"/>
          <ac:cxnSpMkLst>
            <pc:docMk/>
            <pc:sldMk cId="744096859" sldId="4348"/>
            <ac:cxnSpMk id="73" creationId="{B078C37D-B57F-48B2-A791-D8BE3AAFB46C}"/>
          </ac:cxnSpMkLst>
        </pc:cxnChg>
        <pc:cxnChg chg="mod">
          <ac:chgData name="Sadzida Vrana" userId="8c32c596-1b4d-4da4-b31a-f796641544b7" providerId="ADAL" clId="{4447F655-4D1A-4872-93D8-8CB36D7FCB3C}" dt="2024-02-13T20:37:43.069" v="615" actId="208"/>
          <ac:cxnSpMkLst>
            <pc:docMk/>
            <pc:sldMk cId="744096859" sldId="4348"/>
            <ac:cxnSpMk id="74" creationId="{B6E46C6B-1E89-4017-BD74-C84545B13514}"/>
          </ac:cxnSpMkLst>
        </pc:cxnChg>
      </pc:sldChg>
      <pc:sldChg chg="del">
        <pc:chgData name="Sadzida Vrana" userId="8c32c596-1b4d-4da4-b31a-f796641544b7" providerId="ADAL" clId="{4447F655-4D1A-4872-93D8-8CB36D7FCB3C}" dt="2024-02-13T20:39:26.784" v="656" actId="47"/>
        <pc:sldMkLst>
          <pc:docMk/>
          <pc:sldMk cId="40005470" sldId="4431"/>
        </pc:sldMkLst>
      </pc:sldChg>
      <pc:sldChg chg="del">
        <pc:chgData name="Sadzida Vrana" userId="8c32c596-1b4d-4da4-b31a-f796641544b7" providerId="ADAL" clId="{4447F655-4D1A-4872-93D8-8CB36D7FCB3C}" dt="2024-02-13T20:26:46.807" v="245" actId="47"/>
        <pc:sldMkLst>
          <pc:docMk/>
          <pc:sldMk cId="3879242514" sldId="4432"/>
        </pc:sldMkLst>
      </pc:sldChg>
      <pc:sldChg chg="del">
        <pc:chgData name="Sadzida Vrana" userId="8c32c596-1b4d-4da4-b31a-f796641544b7" providerId="ADAL" clId="{4447F655-4D1A-4872-93D8-8CB36D7FCB3C}" dt="2024-02-13T20:39:24.878" v="655" actId="47"/>
        <pc:sldMkLst>
          <pc:docMk/>
          <pc:sldMk cId="2035005543" sldId="11698"/>
        </pc:sldMkLst>
      </pc:sldChg>
      <pc:sldChg chg="del">
        <pc:chgData name="Sadzida Vrana" userId="8c32c596-1b4d-4da4-b31a-f796641544b7" providerId="ADAL" clId="{4447F655-4D1A-4872-93D8-8CB36D7FCB3C}" dt="2024-02-13T21:12:29.145" v="1202" actId="47"/>
        <pc:sldMkLst>
          <pc:docMk/>
          <pc:sldMk cId="127191142" sldId="11710"/>
        </pc:sldMkLst>
      </pc:sldChg>
      <pc:sldChg chg="del">
        <pc:chgData name="Sadzida Vrana" userId="8c32c596-1b4d-4da4-b31a-f796641544b7" providerId="ADAL" clId="{4447F655-4D1A-4872-93D8-8CB36D7FCB3C}" dt="2024-02-14T08:08:16.570" v="1588" actId="47"/>
        <pc:sldMkLst>
          <pc:docMk/>
          <pc:sldMk cId="1501149667" sldId="11711"/>
        </pc:sldMkLst>
      </pc:sldChg>
      <pc:sldChg chg="del">
        <pc:chgData name="Sadzida Vrana" userId="8c32c596-1b4d-4da4-b31a-f796641544b7" providerId="ADAL" clId="{4447F655-4D1A-4872-93D8-8CB36D7FCB3C}" dt="2024-02-14T08:08:17.663" v="1589" actId="47"/>
        <pc:sldMkLst>
          <pc:docMk/>
          <pc:sldMk cId="3083110968" sldId="11712"/>
        </pc:sldMkLst>
      </pc:sldChg>
      <pc:sldChg chg="del">
        <pc:chgData name="Sadzida Vrana" userId="8c32c596-1b4d-4da4-b31a-f796641544b7" providerId="ADAL" clId="{4447F655-4D1A-4872-93D8-8CB36D7FCB3C}" dt="2024-02-14T08:08:19.219" v="1590" actId="47"/>
        <pc:sldMkLst>
          <pc:docMk/>
          <pc:sldMk cId="2237686894" sldId="11713"/>
        </pc:sldMkLst>
      </pc:sldChg>
      <pc:sldChg chg="del">
        <pc:chgData name="Sadzida Vrana" userId="8c32c596-1b4d-4da4-b31a-f796641544b7" providerId="ADAL" clId="{4447F655-4D1A-4872-93D8-8CB36D7FCB3C}" dt="2024-02-14T08:08:20.484" v="1591" actId="47"/>
        <pc:sldMkLst>
          <pc:docMk/>
          <pc:sldMk cId="429098031" sldId="11714"/>
        </pc:sldMkLst>
      </pc:sldChg>
      <pc:sldChg chg="del">
        <pc:chgData name="Sadzida Vrana" userId="8c32c596-1b4d-4da4-b31a-f796641544b7" providerId="ADAL" clId="{4447F655-4D1A-4872-93D8-8CB36D7FCB3C}" dt="2024-02-14T08:08:21.763" v="1592" actId="47"/>
        <pc:sldMkLst>
          <pc:docMk/>
          <pc:sldMk cId="2515970856" sldId="11715"/>
        </pc:sldMkLst>
      </pc:sldChg>
      <pc:sldChg chg="del">
        <pc:chgData name="Sadzida Vrana" userId="8c32c596-1b4d-4da4-b31a-f796641544b7" providerId="ADAL" clId="{4447F655-4D1A-4872-93D8-8CB36D7FCB3C}" dt="2024-02-14T08:08:23.127" v="1593" actId="47"/>
        <pc:sldMkLst>
          <pc:docMk/>
          <pc:sldMk cId="138597221" sldId="11716"/>
        </pc:sldMkLst>
      </pc:sldChg>
      <pc:sldChg chg="del">
        <pc:chgData name="Sadzida Vrana" userId="8c32c596-1b4d-4da4-b31a-f796641544b7" providerId="ADAL" clId="{4447F655-4D1A-4872-93D8-8CB36D7FCB3C}" dt="2024-02-14T08:08:25.083" v="1594" actId="47"/>
        <pc:sldMkLst>
          <pc:docMk/>
          <pc:sldMk cId="3743970250" sldId="11718"/>
        </pc:sldMkLst>
      </pc:sldChg>
      <pc:sldChg chg="del">
        <pc:chgData name="Sadzida Vrana" userId="8c32c596-1b4d-4da4-b31a-f796641544b7" providerId="ADAL" clId="{4447F655-4D1A-4872-93D8-8CB36D7FCB3C}" dt="2024-02-14T08:08:25.991" v="1595" actId="47"/>
        <pc:sldMkLst>
          <pc:docMk/>
          <pc:sldMk cId="1234980589" sldId="11719"/>
        </pc:sldMkLst>
      </pc:sldChg>
      <pc:sldChg chg="del">
        <pc:chgData name="Sadzida Vrana" userId="8c32c596-1b4d-4da4-b31a-f796641544b7" providerId="ADAL" clId="{4447F655-4D1A-4872-93D8-8CB36D7FCB3C}" dt="2024-02-13T20:42:31.782" v="675" actId="47"/>
        <pc:sldMkLst>
          <pc:docMk/>
          <pc:sldMk cId="4231178716" sldId="11723"/>
        </pc:sldMkLst>
      </pc:sldChg>
      <pc:sldChg chg="del">
        <pc:chgData name="Sadzida Vrana" userId="8c32c596-1b4d-4da4-b31a-f796641544b7" providerId="ADAL" clId="{4447F655-4D1A-4872-93D8-8CB36D7FCB3C}" dt="2024-02-13T21:12:05.927" v="1194" actId="47"/>
        <pc:sldMkLst>
          <pc:docMk/>
          <pc:sldMk cId="805548760" sldId="11751"/>
        </pc:sldMkLst>
      </pc:sldChg>
      <pc:sldChg chg="addSp delSp modSp mod">
        <pc:chgData name="Sadzida Vrana" userId="8c32c596-1b4d-4da4-b31a-f796641544b7" providerId="ADAL" clId="{4447F655-4D1A-4872-93D8-8CB36D7FCB3C}" dt="2024-02-13T20:54:16.364" v="833" actId="1076"/>
        <pc:sldMkLst>
          <pc:docMk/>
          <pc:sldMk cId="3115884079" sldId="11756"/>
        </pc:sldMkLst>
        <pc:spChg chg="mod">
          <ac:chgData name="Sadzida Vrana" userId="8c32c596-1b4d-4da4-b31a-f796641544b7" providerId="ADAL" clId="{4447F655-4D1A-4872-93D8-8CB36D7FCB3C}" dt="2024-02-13T20:50:56.695" v="797" actId="20577"/>
          <ac:spMkLst>
            <pc:docMk/>
            <pc:sldMk cId="3115884079" sldId="11756"/>
            <ac:spMk id="2" creationId="{389E6C3C-B1A9-4B47-921D-A4221EDBFC3B}"/>
          </ac:spMkLst>
        </pc:spChg>
        <pc:spChg chg="mod">
          <ac:chgData name="Sadzida Vrana" userId="8c32c596-1b4d-4da4-b31a-f796641544b7" providerId="ADAL" clId="{4447F655-4D1A-4872-93D8-8CB36D7FCB3C}" dt="2024-02-13T20:54:11.062" v="831" actId="14100"/>
          <ac:spMkLst>
            <pc:docMk/>
            <pc:sldMk cId="3115884079" sldId="11756"/>
            <ac:spMk id="3" creationId="{840D1772-98AD-D71E-7E58-05F1A917BFAA}"/>
          </ac:spMkLst>
        </pc:spChg>
        <pc:picChg chg="del">
          <ac:chgData name="Sadzida Vrana" userId="8c32c596-1b4d-4da4-b31a-f796641544b7" providerId="ADAL" clId="{4447F655-4D1A-4872-93D8-8CB36D7FCB3C}" dt="2024-02-13T20:53:34.644" v="823" actId="478"/>
          <ac:picMkLst>
            <pc:docMk/>
            <pc:sldMk cId="3115884079" sldId="11756"/>
            <ac:picMk id="5" creationId="{71A1AEAB-BCC9-42F6-D219-5D3E982A069E}"/>
          </ac:picMkLst>
        </pc:picChg>
        <pc:picChg chg="add mod">
          <ac:chgData name="Sadzida Vrana" userId="8c32c596-1b4d-4da4-b31a-f796641544b7" providerId="ADAL" clId="{4447F655-4D1A-4872-93D8-8CB36D7FCB3C}" dt="2024-02-13T20:54:16.364" v="833" actId="1076"/>
          <ac:picMkLst>
            <pc:docMk/>
            <pc:sldMk cId="3115884079" sldId="11756"/>
            <ac:picMk id="2050" creationId="{773C99A8-B214-4776-C535-A65BC0F2DB63}"/>
          </ac:picMkLst>
        </pc:picChg>
      </pc:sldChg>
      <pc:sldChg chg="del">
        <pc:chgData name="Sadzida Vrana" userId="8c32c596-1b4d-4da4-b31a-f796641544b7" providerId="ADAL" clId="{4447F655-4D1A-4872-93D8-8CB36D7FCB3C}" dt="2024-02-13T21:12:32.304" v="1206" actId="47"/>
        <pc:sldMkLst>
          <pc:docMk/>
          <pc:sldMk cId="1562819076" sldId="11759"/>
        </pc:sldMkLst>
      </pc:sldChg>
      <pc:sldChg chg="del">
        <pc:chgData name="Sadzida Vrana" userId="8c32c596-1b4d-4da4-b31a-f796641544b7" providerId="ADAL" clId="{4447F655-4D1A-4872-93D8-8CB36D7FCB3C}" dt="2024-02-13T21:12:31.804" v="1205" actId="47"/>
        <pc:sldMkLst>
          <pc:docMk/>
          <pc:sldMk cId="4175927753" sldId="11760"/>
        </pc:sldMkLst>
      </pc:sldChg>
      <pc:sldChg chg="del">
        <pc:chgData name="Sadzida Vrana" userId="8c32c596-1b4d-4da4-b31a-f796641544b7" providerId="ADAL" clId="{4447F655-4D1A-4872-93D8-8CB36D7FCB3C}" dt="2024-02-13T21:12:31.155" v="1204" actId="47"/>
        <pc:sldMkLst>
          <pc:docMk/>
          <pc:sldMk cId="1957970403" sldId="11763"/>
        </pc:sldMkLst>
      </pc:sldChg>
      <pc:sldChg chg="del">
        <pc:chgData name="Sadzida Vrana" userId="8c32c596-1b4d-4da4-b31a-f796641544b7" providerId="ADAL" clId="{4447F655-4D1A-4872-93D8-8CB36D7FCB3C}" dt="2024-02-13T21:12:30.368" v="1203" actId="47"/>
        <pc:sldMkLst>
          <pc:docMk/>
          <pc:sldMk cId="1451259657" sldId="11764"/>
        </pc:sldMkLst>
      </pc:sldChg>
      <pc:sldChg chg="del">
        <pc:chgData name="Sadzida Vrana" userId="8c32c596-1b4d-4da4-b31a-f796641544b7" providerId="ADAL" clId="{4447F655-4D1A-4872-93D8-8CB36D7FCB3C}" dt="2024-02-13T21:12:08.091" v="1195" actId="47"/>
        <pc:sldMkLst>
          <pc:docMk/>
          <pc:sldMk cId="1659126196" sldId="11766"/>
        </pc:sldMkLst>
      </pc:sldChg>
      <pc:sldChg chg="del">
        <pc:chgData name="Sadzida Vrana" userId="8c32c596-1b4d-4da4-b31a-f796641544b7" providerId="ADAL" clId="{4447F655-4D1A-4872-93D8-8CB36D7FCB3C}" dt="2024-02-14T08:09:23.928" v="1615" actId="47"/>
        <pc:sldMkLst>
          <pc:docMk/>
          <pc:sldMk cId="2604518430" sldId="11767"/>
        </pc:sldMkLst>
      </pc:sldChg>
      <pc:sldChg chg="del">
        <pc:chgData name="Sadzida Vrana" userId="8c32c596-1b4d-4da4-b31a-f796641544b7" providerId="ADAL" clId="{4447F655-4D1A-4872-93D8-8CB36D7FCB3C}" dt="2024-02-14T08:08:14.433" v="1587" actId="47"/>
        <pc:sldMkLst>
          <pc:docMk/>
          <pc:sldMk cId="2298133056" sldId="11768"/>
        </pc:sldMkLst>
      </pc:sldChg>
      <pc:sldChg chg="del">
        <pc:chgData name="Sadzida Vrana" userId="8c32c596-1b4d-4da4-b31a-f796641544b7" providerId="ADAL" clId="{4447F655-4D1A-4872-93D8-8CB36D7FCB3C}" dt="2024-02-14T08:09:22.310" v="1614" actId="47"/>
        <pc:sldMkLst>
          <pc:docMk/>
          <pc:sldMk cId="1789448988" sldId="11770"/>
        </pc:sldMkLst>
      </pc:sldChg>
      <pc:sldChg chg="del">
        <pc:chgData name="Sadzida Vrana" userId="8c32c596-1b4d-4da4-b31a-f796641544b7" providerId="ADAL" clId="{4447F655-4D1A-4872-93D8-8CB36D7FCB3C}" dt="2024-02-14T08:08:41.123" v="1601" actId="47"/>
        <pc:sldMkLst>
          <pc:docMk/>
          <pc:sldMk cId="3238634097" sldId="11772"/>
        </pc:sldMkLst>
      </pc:sldChg>
      <pc:sldChg chg="del">
        <pc:chgData name="Sadzida Vrana" userId="8c32c596-1b4d-4da4-b31a-f796641544b7" providerId="ADAL" clId="{4447F655-4D1A-4872-93D8-8CB36D7FCB3C}" dt="2024-02-13T20:48:52.842" v="752" actId="47"/>
        <pc:sldMkLst>
          <pc:docMk/>
          <pc:sldMk cId="2350515752" sldId="11774"/>
        </pc:sldMkLst>
      </pc:sldChg>
      <pc:sldChg chg="del">
        <pc:chgData name="Sadzida Vrana" userId="8c32c596-1b4d-4da4-b31a-f796641544b7" providerId="ADAL" clId="{4447F655-4D1A-4872-93D8-8CB36D7FCB3C}" dt="2024-02-14T08:08:30.467" v="1598" actId="47"/>
        <pc:sldMkLst>
          <pc:docMk/>
          <pc:sldMk cId="2627267068" sldId="11776"/>
        </pc:sldMkLst>
      </pc:sldChg>
      <pc:sldChg chg="del">
        <pc:chgData name="Sadzida Vrana" userId="8c32c596-1b4d-4da4-b31a-f796641544b7" providerId="ADAL" clId="{4447F655-4D1A-4872-93D8-8CB36D7FCB3C}" dt="2024-02-13T21:12:13.168" v="1198" actId="47"/>
        <pc:sldMkLst>
          <pc:docMk/>
          <pc:sldMk cId="3899506530" sldId="11780"/>
        </pc:sldMkLst>
      </pc:sldChg>
      <pc:sldChg chg="del">
        <pc:chgData name="Sadzida Vrana" userId="8c32c596-1b4d-4da4-b31a-f796641544b7" providerId="ADAL" clId="{4447F655-4D1A-4872-93D8-8CB36D7FCB3C}" dt="2024-02-13T21:12:11.488" v="1197" actId="47"/>
        <pc:sldMkLst>
          <pc:docMk/>
          <pc:sldMk cId="1054312952" sldId="11781"/>
        </pc:sldMkLst>
      </pc:sldChg>
      <pc:sldChg chg="del">
        <pc:chgData name="Sadzida Vrana" userId="8c32c596-1b4d-4da4-b31a-f796641544b7" providerId="ADAL" clId="{4447F655-4D1A-4872-93D8-8CB36D7FCB3C}" dt="2024-02-14T08:09:24.798" v="1616" actId="47"/>
        <pc:sldMkLst>
          <pc:docMk/>
          <pc:sldMk cId="1425432079" sldId="11782"/>
        </pc:sldMkLst>
      </pc:sldChg>
      <pc:sldChg chg="del">
        <pc:chgData name="Sadzida Vrana" userId="8c32c596-1b4d-4da4-b31a-f796641544b7" providerId="ADAL" clId="{4447F655-4D1A-4872-93D8-8CB36D7FCB3C}" dt="2024-02-14T08:09:25.921" v="1617" actId="47"/>
        <pc:sldMkLst>
          <pc:docMk/>
          <pc:sldMk cId="1284349919" sldId="11783"/>
        </pc:sldMkLst>
      </pc:sldChg>
      <pc:sldChg chg="del">
        <pc:chgData name="Sadzida Vrana" userId="8c32c596-1b4d-4da4-b31a-f796641544b7" providerId="ADAL" clId="{4447F655-4D1A-4872-93D8-8CB36D7FCB3C}" dt="2024-02-13T21:12:33.059" v="1207" actId="47"/>
        <pc:sldMkLst>
          <pc:docMk/>
          <pc:sldMk cId="709584758" sldId="11784"/>
        </pc:sldMkLst>
      </pc:sldChg>
      <pc:sldChg chg="del">
        <pc:chgData name="Sadzida Vrana" userId="8c32c596-1b4d-4da4-b31a-f796641544b7" providerId="ADAL" clId="{4447F655-4D1A-4872-93D8-8CB36D7FCB3C}" dt="2024-02-13T21:12:14.405" v="1199" actId="47"/>
        <pc:sldMkLst>
          <pc:docMk/>
          <pc:sldMk cId="1330923336" sldId="11787"/>
        </pc:sldMkLst>
      </pc:sldChg>
      <pc:sldChg chg="del">
        <pc:chgData name="Sadzida Vrana" userId="8c32c596-1b4d-4da4-b31a-f796641544b7" providerId="ADAL" clId="{4447F655-4D1A-4872-93D8-8CB36D7FCB3C}" dt="2024-02-13T21:12:16.050" v="1200" actId="47"/>
        <pc:sldMkLst>
          <pc:docMk/>
          <pc:sldMk cId="3136079607" sldId="11788"/>
        </pc:sldMkLst>
      </pc:sldChg>
      <pc:sldChg chg="del">
        <pc:chgData name="Sadzida Vrana" userId="8c32c596-1b4d-4da4-b31a-f796641544b7" providerId="ADAL" clId="{4447F655-4D1A-4872-93D8-8CB36D7FCB3C}" dt="2024-02-14T08:08:35.205" v="1600" actId="47"/>
        <pc:sldMkLst>
          <pc:docMk/>
          <pc:sldMk cId="3189185861" sldId="11789"/>
        </pc:sldMkLst>
      </pc:sldChg>
      <pc:sldChg chg="del">
        <pc:chgData name="Sadzida Vrana" userId="8c32c596-1b4d-4da4-b31a-f796641544b7" providerId="ADAL" clId="{4447F655-4D1A-4872-93D8-8CB36D7FCB3C}" dt="2024-02-13T21:12:27.708" v="1201" actId="47"/>
        <pc:sldMkLst>
          <pc:docMk/>
          <pc:sldMk cId="2695835472" sldId="11811"/>
        </pc:sldMkLst>
      </pc:sldChg>
      <pc:sldChg chg="del">
        <pc:chgData name="Sadzida Vrana" userId="8c32c596-1b4d-4da4-b31a-f796641544b7" providerId="ADAL" clId="{4447F655-4D1A-4872-93D8-8CB36D7FCB3C}" dt="2024-02-14T08:08:46.585" v="1603" actId="47"/>
        <pc:sldMkLst>
          <pc:docMk/>
          <pc:sldMk cId="3918700792" sldId="11812"/>
        </pc:sldMkLst>
      </pc:sldChg>
      <pc:sldChg chg="del">
        <pc:chgData name="Sadzida Vrana" userId="8c32c596-1b4d-4da4-b31a-f796641544b7" providerId="ADAL" clId="{4447F655-4D1A-4872-93D8-8CB36D7FCB3C}" dt="2024-02-13T21:12:10.089" v="1196" actId="47"/>
        <pc:sldMkLst>
          <pc:docMk/>
          <pc:sldMk cId="3008757117" sldId="11813"/>
        </pc:sldMkLst>
      </pc:sldChg>
      <pc:sldChg chg="del">
        <pc:chgData name="Sadzida Vrana" userId="8c32c596-1b4d-4da4-b31a-f796641544b7" providerId="ADAL" clId="{4447F655-4D1A-4872-93D8-8CB36D7FCB3C}" dt="2024-02-14T08:08:44.865" v="1602" actId="47"/>
        <pc:sldMkLst>
          <pc:docMk/>
          <pc:sldMk cId="3150871268" sldId="11815"/>
        </pc:sldMkLst>
      </pc:sldChg>
      <pc:sldChg chg="modSp mod ord">
        <pc:chgData name="Sadzida Vrana" userId="8c32c596-1b4d-4da4-b31a-f796641544b7" providerId="ADAL" clId="{4447F655-4D1A-4872-93D8-8CB36D7FCB3C}" dt="2024-02-14T08:09:51.097" v="1624" actId="20577"/>
        <pc:sldMkLst>
          <pc:docMk/>
          <pc:sldMk cId="1438822100" sldId="11816"/>
        </pc:sldMkLst>
        <pc:spChg chg="mod">
          <ac:chgData name="Sadzida Vrana" userId="8c32c596-1b4d-4da4-b31a-f796641544b7" providerId="ADAL" clId="{4447F655-4D1A-4872-93D8-8CB36D7FCB3C}" dt="2024-02-14T08:09:51.097" v="1624" actId="20577"/>
          <ac:spMkLst>
            <pc:docMk/>
            <pc:sldMk cId="1438822100" sldId="11816"/>
            <ac:spMk id="5" creationId="{0C2A1D4D-4565-ED38-8601-11E454C37D26}"/>
          </ac:spMkLst>
        </pc:spChg>
        <pc:spChg chg="mod">
          <ac:chgData name="Sadzida Vrana" userId="8c32c596-1b4d-4da4-b31a-f796641544b7" providerId="ADAL" clId="{4447F655-4D1A-4872-93D8-8CB36D7FCB3C}" dt="2024-02-14T08:09:46.753" v="1623" actId="1076"/>
          <ac:spMkLst>
            <pc:docMk/>
            <pc:sldMk cId="1438822100" sldId="11816"/>
            <ac:spMk id="12" creationId="{C69D8F43-C43D-D4C3-97C2-750AFCE516EA}"/>
          </ac:spMkLst>
        </pc:spChg>
        <pc:spChg chg="mod">
          <ac:chgData name="Sadzida Vrana" userId="8c32c596-1b4d-4da4-b31a-f796641544b7" providerId="ADAL" clId="{4447F655-4D1A-4872-93D8-8CB36D7FCB3C}" dt="2024-02-14T08:09:36.996" v="1620" actId="20577"/>
          <ac:spMkLst>
            <pc:docMk/>
            <pc:sldMk cId="1438822100" sldId="11816"/>
            <ac:spMk id="16" creationId="{6DAC4400-ECC0-F7EF-450E-FEF92271DAD9}"/>
          </ac:spMkLst>
        </pc:spChg>
      </pc:sldChg>
      <pc:sldChg chg="del">
        <pc:chgData name="Sadzida Vrana" userId="8c32c596-1b4d-4da4-b31a-f796641544b7" providerId="ADAL" clId="{4447F655-4D1A-4872-93D8-8CB36D7FCB3C}" dt="2024-02-14T08:08:33.542" v="1599" actId="47"/>
        <pc:sldMkLst>
          <pc:docMk/>
          <pc:sldMk cId="2962642178" sldId="11817"/>
        </pc:sldMkLst>
      </pc:sldChg>
      <pc:sldChg chg="modSp mod ord">
        <pc:chgData name="Sadzida Vrana" userId="8c32c596-1b4d-4da4-b31a-f796641544b7" providerId="ADAL" clId="{4447F655-4D1A-4872-93D8-8CB36D7FCB3C}" dt="2024-02-13T20:58:10.473" v="879" actId="20577"/>
        <pc:sldMkLst>
          <pc:docMk/>
          <pc:sldMk cId="1436811274" sldId="11818"/>
        </pc:sldMkLst>
        <pc:spChg chg="mod">
          <ac:chgData name="Sadzida Vrana" userId="8c32c596-1b4d-4da4-b31a-f796641544b7" providerId="ADAL" clId="{4447F655-4D1A-4872-93D8-8CB36D7FCB3C}" dt="2024-02-13T20:58:10.473" v="879" actId="20577"/>
          <ac:spMkLst>
            <pc:docMk/>
            <pc:sldMk cId="1436811274" sldId="11818"/>
            <ac:spMk id="6" creationId="{3CBEE844-16E2-4CDB-9D73-314FFFDC3E64}"/>
          </ac:spMkLst>
        </pc:spChg>
        <pc:spChg chg="mod">
          <ac:chgData name="Sadzida Vrana" userId="8c32c596-1b4d-4da4-b31a-f796641544b7" providerId="ADAL" clId="{4447F655-4D1A-4872-93D8-8CB36D7FCB3C}" dt="2024-02-13T20:40:38.649" v="674" actId="20577"/>
          <ac:spMkLst>
            <pc:docMk/>
            <pc:sldMk cId="1436811274" sldId="11818"/>
            <ac:spMk id="10" creationId="{6089B662-5E93-4987-80DB-AC06B9395210}"/>
          </ac:spMkLst>
        </pc:spChg>
      </pc:sldChg>
      <pc:sldChg chg="del">
        <pc:chgData name="Sadzida Vrana" userId="8c32c596-1b4d-4da4-b31a-f796641544b7" providerId="ADAL" clId="{4447F655-4D1A-4872-93D8-8CB36D7FCB3C}" dt="2024-02-14T08:08:27.373" v="1596" actId="47"/>
        <pc:sldMkLst>
          <pc:docMk/>
          <pc:sldMk cId="1173184667" sldId="11819"/>
        </pc:sldMkLst>
      </pc:sldChg>
      <pc:sldChg chg="del">
        <pc:chgData name="Sadzida Vrana" userId="8c32c596-1b4d-4da4-b31a-f796641544b7" providerId="ADAL" clId="{4447F655-4D1A-4872-93D8-8CB36D7FCB3C}" dt="2024-02-14T08:08:28.460" v="1597" actId="47"/>
        <pc:sldMkLst>
          <pc:docMk/>
          <pc:sldMk cId="2366440293" sldId="11820"/>
        </pc:sldMkLst>
      </pc:sldChg>
      <pc:sldChg chg="new del">
        <pc:chgData name="Sadzida Vrana" userId="8c32c596-1b4d-4da4-b31a-f796641544b7" providerId="ADAL" clId="{4447F655-4D1A-4872-93D8-8CB36D7FCB3C}" dt="2024-02-13T20:18:21.894" v="115" actId="47"/>
        <pc:sldMkLst>
          <pc:docMk/>
          <pc:sldMk cId="1022239496" sldId="11821"/>
        </pc:sldMkLst>
      </pc:sldChg>
      <pc:sldChg chg="addSp delSp modSp new del mod">
        <pc:chgData name="Sadzida Vrana" userId="8c32c596-1b4d-4da4-b31a-f796641544b7" providerId="ADAL" clId="{4447F655-4D1A-4872-93D8-8CB36D7FCB3C}" dt="2024-02-13T20:24:05.566" v="203" actId="2696"/>
        <pc:sldMkLst>
          <pc:docMk/>
          <pc:sldMk cId="3066017362" sldId="11822"/>
        </pc:sldMkLst>
        <pc:picChg chg="add del mod">
          <ac:chgData name="Sadzida Vrana" userId="8c32c596-1b4d-4da4-b31a-f796641544b7" providerId="ADAL" clId="{4447F655-4D1A-4872-93D8-8CB36D7FCB3C}" dt="2024-02-13T20:20:04.581" v="118" actId="478"/>
          <ac:picMkLst>
            <pc:docMk/>
            <pc:sldMk cId="3066017362" sldId="11822"/>
            <ac:picMk id="5" creationId="{A6E6EF7D-2BA7-25EF-67AB-F0DBBADAF5FA}"/>
          </ac:picMkLst>
        </pc:picChg>
        <pc:picChg chg="add mod">
          <ac:chgData name="Sadzida Vrana" userId="8c32c596-1b4d-4da4-b31a-f796641544b7" providerId="ADAL" clId="{4447F655-4D1A-4872-93D8-8CB36D7FCB3C}" dt="2024-02-13T20:21:34.620" v="121" actId="1076"/>
          <ac:picMkLst>
            <pc:docMk/>
            <pc:sldMk cId="3066017362" sldId="11822"/>
            <ac:picMk id="7" creationId="{0013DE6A-CC9E-5F6F-EF91-DCDA7909F133}"/>
          </ac:picMkLst>
        </pc:picChg>
      </pc:sldChg>
      <pc:sldChg chg="addSp delSp modSp new mod">
        <pc:chgData name="Sadzida Vrana" userId="8c32c596-1b4d-4da4-b31a-f796641544b7" providerId="ADAL" clId="{4447F655-4D1A-4872-93D8-8CB36D7FCB3C}" dt="2024-02-13T20:39:06.146" v="653" actId="1076"/>
        <pc:sldMkLst>
          <pc:docMk/>
          <pc:sldMk cId="193742719" sldId="11823"/>
        </pc:sldMkLst>
        <pc:spChg chg="mod">
          <ac:chgData name="Sadzida Vrana" userId="8c32c596-1b4d-4da4-b31a-f796641544b7" providerId="ADAL" clId="{4447F655-4D1A-4872-93D8-8CB36D7FCB3C}" dt="2024-02-13T20:26:38.580" v="244" actId="20577"/>
          <ac:spMkLst>
            <pc:docMk/>
            <pc:sldMk cId="193742719" sldId="11823"/>
            <ac:spMk id="2" creationId="{18F90A48-A607-0AE8-5E2D-606EB8D3C81D}"/>
          </ac:spMkLst>
        </pc:spChg>
        <pc:spChg chg="add mod">
          <ac:chgData name="Sadzida Vrana" userId="8c32c596-1b4d-4da4-b31a-f796641544b7" providerId="ADAL" clId="{4447F655-4D1A-4872-93D8-8CB36D7FCB3C}" dt="2024-02-13T20:39:06.146" v="653" actId="1076"/>
          <ac:spMkLst>
            <pc:docMk/>
            <pc:sldMk cId="193742719" sldId="11823"/>
            <ac:spMk id="6" creationId="{B81E1E31-D7EE-4E76-A2F8-A502C1DEB6F6}"/>
          </ac:spMkLst>
        </pc:spChg>
        <pc:picChg chg="add del mod">
          <ac:chgData name="Sadzida Vrana" userId="8c32c596-1b4d-4da4-b31a-f796641544b7" providerId="ADAL" clId="{4447F655-4D1A-4872-93D8-8CB36D7FCB3C}" dt="2024-02-13T20:25:49.929" v="209" actId="478"/>
          <ac:picMkLst>
            <pc:docMk/>
            <pc:sldMk cId="193742719" sldId="11823"/>
            <ac:picMk id="5" creationId="{98FF2899-CCF3-3576-6A51-098733DB70F1}"/>
          </ac:picMkLst>
        </pc:picChg>
        <pc:picChg chg="add mod">
          <ac:chgData name="Sadzida Vrana" userId="8c32c596-1b4d-4da4-b31a-f796641544b7" providerId="ADAL" clId="{4447F655-4D1A-4872-93D8-8CB36D7FCB3C}" dt="2024-02-13T20:26:24.253" v="216" actId="14100"/>
          <ac:picMkLst>
            <pc:docMk/>
            <pc:sldMk cId="193742719" sldId="11823"/>
            <ac:picMk id="8" creationId="{92A3C0AB-3C04-28C1-5334-BCDA8F66E637}"/>
          </ac:picMkLst>
        </pc:picChg>
      </pc:sldChg>
      <pc:sldChg chg="modSp new del mod">
        <pc:chgData name="Sadzida Vrana" userId="8c32c596-1b4d-4da4-b31a-f796641544b7" providerId="ADAL" clId="{4447F655-4D1A-4872-93D8-8CB36D7FCB3C}" dt="2024-02-13T20:24:09.748" v="204" actId="2696"/>
        <pc:sldMkLst>
          <pc:docMk/>
          <pc:sldMk cId="132334366" sldId="11824"/>
        </pc:sldMkLst>
        <pc:spChg chg="mod">
          <ac:chgData name="Sadzida Vrana" userId="8c32c596-1b4d-4da4-b31a-f796641544b7" providerId="ADAL" clId="{4447F655-4D1A-4872-93D8-8CB36D7FCB3C}" dt="2024-02-13T20:22:47.127" v="189"/>
          <ac:spMkLst>
            <pc:docMk/>
            <pc:sldMk cId="132334366" sldId="11824"/>
            <ac:spMk id="3" creationId="{9E042ADB-823B-F2FE-9E8D-81A9B44B04E0}"/>
          </ac:spMkLst>
        </pc:spChg>
      </pc:sldChg>
      <pc:sldChg chg="addSp delSp modSp new del mod">
        <pc:chgData name="Sadzida Vrana" userId="8c32c596-1b4d-4da4-b31a-f796641544b7" providerId="ADAL" clId="{4447F655-4D1A-4872-93D8-8CB36D7FCB3C}" dt="2024-02-13T20:26:49.997" v="247" actId="47"/>
        <pc:sldMkLst>
          <pc:docMk/>
          <pc:sldMk cId="624528706" sldId="11824"/>
        </pc:sldMkLst>
        <pc:spChg chg="add del">
          <ac:chgData name="Sadzida Vrana" userId="8c32c596-1b4d-4da4-b31a-f796641544b7" providerId="ADAL" clId="{4447F655-4D1A-4872-93D8-8CB36D7FCB3C}" dt="2024-02-13T20:25:41.767" v="208" actId="22"/>
          <ac:spMkLst>
            <pc:docMk/>
            <pc:sldMk cId="624528706" sldId="11824"/>
            <ac:spMk id="6" creationId="{6E969153-D624-06CA-8E65-330EE6415242}"/>
          </ac:spMkLst>
        </pc:spChg>
      </pc:sldChg>
      <pc:sldChg chg="new del">
        <pc:chgData name="Sadzida Vrana" userId="8c32c596-1b4d-4da4-b31a-f796641544b7" providerId="ADAL" clId="{4447F655-4D1A-4872-93D8-8CB36D7FCB3C}" dt="2024-02-13T20:27:57.101" v="249" actId="47"/>
        <pc:sldMkLst>
          <pc:docMk/>
          <pc:sldMk cId="2022459339" sldId="11824"/>
        </pc:sldMkLst>
      </pc:sldChg>
      <pc:sldChg chg="addSp delSp modSp new mod ord">
        <pc:chgData name="Sadzida Vrana" userId="8c32c596-1b4d-4da4-b31a-f796641544b7" providerId="ADAL" clId="{4447F655-4D1A-4872-93D8-8CB36D7FCB3C}" dt="2024-02-13T20:54:54.979" v="842"/>
        <pc:sldMkLst>
          <pc:docMk/>
          <pc:sldMk cId="3640258465" sldId="11824"/>
        </pc:sldMkLst>
        <pc:spChg chg="mod">
          <ac:chgData name="Sadzida Vrana" userId="8c32c596-1b4d-4da4-b31a-f796641544b7" providerId="ADAL" clId="{4447F655-4D1A-4872-93D8-8CB36D7FCB3C}" dt="2024-02-13T20:43:10.826" v="702" actId="20577"/>
          <ac:spMkLst>
            <pc:docMk/>
            <pc:sldMk cId="3640258465" sldId="11824"/>
            <ac:spMk id="2" creationId="{821A57AD-88CD-D169-4011-D95DA12E808D}"/>
          </ac:spMkLst>
        </pc:spChg>
        <pc:spChg chg="del mod">
          <ac:chgData name="Sadzida Vrana" userId="8c32c596-1b4d-4da4-b31a-f796641544b7" providerId="ADAL" clId="{4447F655-4D1A-4872-93D8-8CB36D7FCB3C}" dt="2024-02-13T20:45:14.430" v="717" actId="21"/>
          <ac:spMkLst>
            <pc:docMk/>
            <pc:sldMk cId="3640258465" sldId="11824"/>
            <ac:spMk id="3" creationId="{1DC655A4-D71D-43CE-BD73-54774EBFF149}"/>
          </ac:spMkLst>
        </pc:spChg>
        <pc:spChg chg="mod">
          <ac:chgData name="Sadzida Vrana" userId="8c32c596-1b4d-4da4-b31a-f796641544b7" providerId="ADAL" clId="{4447F655-4D1A-4872-93D8-8CB36D7FCB3C}" dt="2024-02-13T20:48:30.899" v="750" actId="20577"/>
          <ac:spMkLst>
            <pc:docMk/>
            <pc:sldMk cId="3640258465" sldId="11824"/>
            <ac:spMk id="5" creationId="{65C5CC32-4F56-2DD6-7526-D0E00D9FE0F6}"/>
          </ac:spMkLst>
        </pc:spChg>
        <pc:spChg chg="del">
          <ac:chgData name="Sadzida Vrana" userId="8c32c596-1b4d-4da4-b31a-f796641544b7" providerId="ADAL" clId="{4447F655-4D1A-4872-93D8-8CB36D7FCB3C}" dt="2024-02-13T20:45:45.601" v="723"/>
          <ac:spMkLst>
            <pc:docMk/>
            <pc:sldMk cId="3640258465" sldId="11824"/>
            <ac:spMk id="6" creationId="{6159FBCD-8EB9-A522-62FD-6623932CCB22}"/>
          </ac:spMkLst>
        </pc:spChg>
        <pc:spChg chg="add mod">
          <ac:chgData name="Sadzida Vrana" userId="8c32c596-1b4d-4da4-b31a-f796641544b7" providerId="ADAL" clId="{4447F655-4D1A-4872-93D8-8CB36D7FCB3C}" dt="2024-02-13T20:45:35.495" v="722" actId="14100"/>
          <ac:spMkLst>
            <pc:docMk/>
            <pc:sldMk cId="3640258465" sldId="11824"/>
            <ac:spMk id="8" creationId="{7E794ED0-D523-0257-0B07-A269246C0D91}"/>
          </ac:spMkLst>
        </pc:spChg>
        <pc:spChg chg="add del mod">
          <ac:chgData name="Sadzida Vrana" userId="8c32c596-1b4d-4da4-b31a-f796641544b7" providerId="ADAL" clId="{4447F655-4D1A-4872-93D8-8CB36D7FCB3C}" dt="2024-02-13T20:45:17.229" v="718" actId="21"/>
          <ac:spMkLst>
            <pc:docMk/>
            <pc:sldMk cId="3640258465" sldId="11824"/>
            <ac:spMk id="10" creationId="{BAFA82BC-2E27-B656-44AB-1C9BBCEF3378}"/>
          </ac:spMkLst>
        </pc:spChg>
        <pc:picChg chg="add mod">
          <ac:chgData name="Sadzida Vrana" userId="8c32c596-1b4d-4da4-b31a-f796641544b7" providerId="ADAL" clId="{4447F655-4D1A-4872-93D8-8CB36D7FCB3C}" dt="2024-02-13T20:48:37.342" v="751" actId="14100"/>
          <ac:picMkLst>
            <pc:docMk/>
            <pc:sldMk cId="3640258465" sldId="11824"/>
            <ac:picMk id="1026" creationId="{1DEBEE97-C767-FB4B-14BB-44DA2B900AFC}"/>
          </ac:picMkLst>
        </pc:picChg>
      </pc:sldChg>
      <pc:sldChg chg="new del">
        <pc:chgData name="Sadzida Vrana" userId="8c32c596-1b4d-4da4-b31a-f796641544b7" providerId="ADAL" clId="{4447F655-4D1A-4872-93D8-8CB36D7FCB3C}" dt="2024-02-13T20:40:25.145" v="661" actId="47"/>
        <pc:sldMkLst>
          <pc:docMk/>
          <pc:sldMk cId="3738080433" sldId="11824"/>
        </pc:sldMkLst>
      </pc:sldChg>
      <pc:sldChg chg="delSp modSp add mod">
        <pc:chgData name="Sadzida Vrana" userId="8c32c596-1b4d-4da4-b31a-f796641544b7" providerId="ADAL" clId="{4447F655-4D1A-4872-93D8-8CB36D7FCB3C}" dt="2024-02-14T07:08:28.857" v="1218" actId="20577"/>
        <pc:sldMkLst>
          <pc:docMk/>
          <pc:sldMk cId="442533751" sldId="11825"/>
        </pc:sldMkLst>
        <pc:spChg chg="mod">
          <ac:chgData name="Sadzida Vrana" userId="8c32c596-1b4d-4da4-b31a-f796641544b7" providerId="ADAL" clId="{4447F655-4D1A-4872-93D8-8CB36D7FCB3C}" dt="2024-02-14T07:08:28.857" v="1218" actId="20577"/>
          <ac:spMkLst>
            <pc:docMk/>
            <pc:sldMk cId="442533751" sldId="11825"/>
            <ac:spMk id="3" creationId="{840D1772-98AD-D71E-7E58-05F1A917BFAA}"/>
          </ac:spMkLst>
        </pc:spChg>
        <pc:picChg chg="del">
          <ac:chgData name="Sadzida Vrana" userId="8c32c596-1b4d-4da4-b31a-f796641544b7" providerId="ADAL" clId="{4447F655-4D1A-4872-93D8-8CB36D7FCB3C}" dt="2024-02-13T20:54:24.862" v="834" actId="478"/>
          <ac:picMkLst>
            <pc:docMk/>
            <pc:sldMk cId="442533751" sldId="11825"/>
            <ac:picMk id="2050" creationId="{773C99A8-B214-4776-C535-A65BC0F2DB63}"/>
          </ac:picMkLst>
        </pc:picChg>
      </pc:sldChg>
      <pc:sldChg chg="modSp add mod ord">
        <pc:chgData name="Sadzida Vrana" userId="8c32c596-1b4d-4da4-b31a-f796641544b7" providerId="ADAL" clId="{4447F655-4D1A-4872-93D8-8CB36D7FCB3C}" dt="2024-02-13T20:58:03.270" v="877" actId="20577"/>
        <pc:sldMkLst>
          <pc:docMk/>
          <pc:sldMk cId="1542540222" sldId="11826"/>
        </pc:sldMkLst>
        <pc:spChg chg="mod">
          <ac:chgData name="Sadzida Vrana" userId="8c32c596-1b4d-4da4-b31a-f796641544b7" providerId="ADAL" clId="{4447F655-4D1A-4872-93D8-8CB36D7FCB3C}" dt="2024-02-13T20:58:03.270" v="877" actId="20577"/>
          <ac:spMkLst>
            <pc:docMk/>
            <pc:sldMk cId="1542540222" sldId="11826"/>
            <ac:spMk id="10" creationId="{6089B662-5E93-4987-80DB-AC06B9395210}"/>
          </ac:spMkLst>
        </pc:spChg>
      </pc:sldChg>
      <pc:sldChg chg="modSp add mod ord">
        <pc:chgData name="Sadzida Vrana" userId="8c32c596-1b4d-4da4-b31a-f796641544b7" providerId="ADAL" clId="{4447F655-4D1A-4872-93D8-8CB36D7FCB3C}" dt="2024-02-13T20:58:50.065" v="926" actId="14100"/>
        <pc:sldMkLst>
          <pc:docMk/>
          <pc:sldMk cId="3648646342" sldId="11827"/>
        </pc:sldMkLst>
        <pc:spChg chg="mod">
          <ac:chgData name="Sadzida Vrana" userId="8c32c596-1b4d-4da4-b31a-f796641544b7" providerId="ADAL" clId="{4447F655-4D1A-4872-93D8-8CB36D7FCB3C}" dt="2024-02-13T20:58:35.580" v="884" actId="20577"/>
          <ac:spMkLst>
            <pc:docMk/>
            <pc:sldMk cId="3648646342" sldId="11827"/>
            <ac:spMk id="6" creationId="{3CBEE844-16E2-4CDB-9D73-314FFFDC3E64}"/>
          </ac:spMkLst>
        </pc:spChg>
        <pc:spChg chg="mod">
          <ac:chgData name="Sadzida Vrana" userId="8c32c596-1b4d-4da4-b31a-f796641544b7" providerId="ADAL" clId="{4447F655-4D1A-4872-93D8-8CB36D7FCB3C}" dt="2024-02-13T20:58:50.065" v="926" actId="14100"/>
          <ac:spMkLst>
            <pc:docMk/>
            <pc:sldMk cId="3648646342" sldId="11827"/>
            <ac:spMk id="10" creationId="{6089B662-5E93-4987-80DB-AC06B9395210}"/>
          </ac:spMkLst>
        </pc:spChg>
      </pc:sldChg>
      <pc:sldChg chg="addSp delSp modSp new mod ord">
        <pc:chgData name="Sadzida Vrana" userId="8c32c596-1b4d-4da4-b31a-f796641544b7" providerId="ADAL" clId="{4447F655-4D1A-4872-93D8-8CB36D7FCB3C}" dt="2024-02-13T21:11:07.063" v="1193" actId="14100"/>
        <pc:sldMkLst>
          <pc:docMk/>
          <pc:sldMk cId="2003413771" sldId="11828"/>
        </pc:sldMkLst>
        <pc:spChg chg="mod">
          <ac:chgData name="Sadzida Vrana" userId="8c32c596-1b4d-4da4-b31a-f796641544b7" providerId="ADAL" clId="{4447F655-4D1A-4872-93D8-8CB36D7FCB3C}" dt="2024-02-13T21:11:07.063" v="1193" actId="14100"/>
          <ac:spMkLst>
            <pc:docMk/>
            <pc:sldMk cId="2003413771" sldId="11828"/>
            <ac:spMk id="2" creationId="{50C2F3D1-101E-BB99-3C2D-81A72C2ACF39}"/>
          </ac:spMkLst>
        </pc:spChg>
        <pc:spChg chg="del">
          <ac:chgData name="Sadzida Vrana" userId="8c32c596-1b4d-4da4-b31a-f796641544b7" providerId="ADAL" clId="{4447F655-4D1A-4872-93D8-8CB36D7FCB3C}" dt="2024-02-13T20:59:50.560" v="928" actId="931"/>
          <ac:spMkLst>
            <pc:docMk/>
            <pc:sldMk cId="2003413771" sldId="11828"/>
            <ac:spMk id="3" creationId="{3E64F6E6-7ED9-D5FE-D8D5-E5C71160BFEA}"/>
          </ac:spMkLst>
        </pc:spChg>
        <pc:spChg chg="mod">
          <ac:chgData name="Sadzida Vrana" userId="8c32c596-1b4d-4da4-b31a-f796641544b7" providerId="ADAL" clId="{4447F655-4D1A-4872-93D8-8CB36D7FCB3C}" dt="2024-02-13T21:00:51.020" v="936"/>
          <ac:spMkLst>
            <pc:docMk/>
            <pc:sldMk cId="2003413771" sldId="11828"/>
            <ac:spMk id="4" creationId="{52800398-E4EF-A330-F5DD-5EEBC8514DCC}"/>
          </ac:spMkLst>
        </pc:spChg>
        <pc:picChg chg="add mod modCrop">
          <ac:chgData name="Sadzida Vrana" userId="8c32c596-1b4d-4da4-b31a-f796641544b7" providerId="ADAL" clId="{4447F655-4D1A-4872-93D8-8CB36D7FCB3C}" dt="2024-02-13T21:00:34.076" v="935" actId="1076"/>
          <ac:picMkLst>
            <pc:docMk/>
            <pc:sldMk cId="2003413771" sldId="11828"/>
            <ac:picMk id="10" creationId="{A8F0AD4C-3FF0-A36B-2FD5-638D313E2F93}"/>
          </ac:picMkLst>
        </pc:picChg>
      </pc:sldChg>
      <pc:sldChg chg="addSp delSp modSp new mod modNotesTx">
        <pc:chgData name="Sadzida Vrana" userId="8c32c596-1b4d-4da4-b31a-f796641544b7" providerId="ADAL" clId="{4447F655-4D1A-4872-93D8-8CB36D7FCB3C}" dt="2024-02-14T07:24:49.725" v="1224" actId="21"/>
        <pc:sldMkLst>
          <pc:docMk/>
          <pc:sldMk cId="1255473241" sldId="11829"/>
        </pc:sldMkLst>
        <pc:spChg chg="mod">
          <ac:chgData name="Sadzida Vrana" userId="8c32c596-1b4d-4da4-b31a-f796641544b7" providerId="ADAL" clId="{4447F655-4D1A-4872-93D8-8CB36D7FCB3C}" dt="2024-02-13T21:07:10.768" v="1044" actId="20577"/>
          <ac:spMkLst>
            <pc:docMk/>
            <pc:sldMk cId="1255473241" sldId="11829"/>
            <ac:spMk id="2" creationId="{961B0FBB-1CEE-21E7-F25D-194CAE20F8EC}"/>
          </ac:spMkLst>
        </pc:spChg>
        <pc:spChg chg="del">
          <ac:chgData name="Sadzida Vrana" userId="8c32c596-1b4d-4da4-b31a-f796641544b7" providerId="ADAL" clId="{4447F655-4D1A-4872-93D8-8CB36D7FCB3C}" dt="2024-02-13T21:03:41.666" v="971" actId="22"/>
          <ac:spMkLst>
            <pc:docMk/>
            <pc:sldMk cId="1255473241" sldId="11829"/>
            <ac:spMk id="3" creationId="{32B17B12-7D42-B1ED-34CB-EECAFB10BA63}"/>
          </ac:spMkLst>
        </pc:spChg>
        <pc:spChg chg="add del mod">
          <ac:chgData name="Sadzida Vrana" userId="8c32c596-1b4d-4da4-b31a-f796641544b7" providerId="ADAL" clId="{4447F655-4D1A-4872-93D8-8CB36D7FCB3C}" dt="2024-02-14T07:24:49.725" v="1224" actId="21"/>
          <ac:spMkLst>
            <pc:docMk/>
            <pc:sldMk cId="1255473241" sldId="11829"/>
            <ac:spMk id="10" creationId="{9D7E4E60-EB14-4665-04EE-60E3BF5D4376}"/>
          </ac:spMkLst>
        </pc:spChg>
        <pc:picChg chg="add del mod ord">
          <ac:chgData name="Sadzida Vrana" userId="8c32c596-1b4d-4da4-b31a-f796641544b7" providerId="ADAL" clId="{4447F655-4D1A-4872-93D8-8CB36D7FCB3C}" dt="2024-02-14T07:24:34.716" v="1221" actId="478"/>
          <ac:picMkLst>
            <pc:docMk/>
            <pc:sldMk cId="1255473241" sldId="11829"/>
            <ac:picMk id="7" creationId="{35CECD0E-D706-A4F7-90E6-61AB8603454E}"/>
          </ac:picMkLst>
        </pc:picChg>
        <pc:picChg chg="add mod">
          <ac:chgData name="Sadzida Vrana" userId="8c32c596-1b4d-4da4-b31a-f796641544b7" providerId="ADAL" clId="{4447F655-4D1A-4872-93D8-8CB36D7FCB3C}" dt="2024-02-14T07:24:43.568" v="1223" actId="14100"/>
          <ac:picMkLst>
            <pc:docMk/>
            <pc:sldMk cId="1255473241" sldId="11829"/>
            <ac:picMk id="8" creationId="{3E2865ED-50AD-178D-9641-F8CC1EAE14C6}"/>
          </ac:picMkLst>
        </pc:picChg>
      </pc:sldChg>
      <pc:sldChg chg="addSp delSp modSp new mod">
        <pc:chgData name="Sadzida Vrana" userId="8c32c596-1b4d-4da4-b31a-f796641544b7" providerId="ADAL" clId="{4447F655-4D1A-4872-93D8-8CB36D7FCB3C}" dt="2024-02-14T07:32:17.011" v="1323" actId="1076"/>
        <pc:sldMkLst>
          <pc:docMk/>
          <pc:sldMk cId="4283948165" sldId="11830"/>
        </pc:sldMkLst>
        <pc:spChg chg="mod">
          <ac:chgData name="Sadzida Vrana" userId="8c32c596-1b4d-4da4-b31a-f796641544b7" providerId="ADAL" clId="{4447F655-4D1A-4872-93D8-8CB36D7FCB3C}" dt="2024-02-14T07:28:15.343" v="1263" actId="20577"/>
          <ac:spMkLst>
            <pc:docMk/>
            <pc:sldMk cId="4283948165" sldId="11830"/>
            <ac:spMk id="2" creationId="{66873F0B-E5B2-1AA2-0B1E-BC3F1ED94E4B}"/>
          </ac:spMkLst>
        </pc:spChg>
        <pc:spChg chg="del">
          <ac:chgData name="Sadzida Vrana" userId="8c32c596-1b4d-4da4-b31a-f796641544b7" providerId="ADAL" clId="{4447F655-4D1A-4872-93D8-8CB36D7FCB3C}" dt="2024-02-14T07:27:55.819" v="1226" actId="22"/>
          <ac:spMkLst>
            <pc:docMk/>
            <pc:sldMk cId="4283948165" sldId="11830"/>
            <ac:spMk id="3" creationId="{BD73DB76-B4C9-AAE9-22A0-A2479B847EDF}"/>
          </ac:spMkLst>
        </pc:spChg>
        <pc:spChg chg="add mod">
          <ac:chgData name="Sadzida Vrana" userId="8c32c596-1b4d-4da4-b31a-f796641544b7" providerId="ADAL" clId="{4447F655-4D1A-4872-93D8-8CB36D7FCB3C}" dt="2024-02-14T07:32:08.884" v="1322" actId="1076"/>
          <ac:spMkLst>
            <pc:docMk/>
            <pc:sldMk cId="4283948165" sldId="11830"/>
            <ac:spMk id="8" creationId="{12CB2B05-6D94-1E05-4EBF-5A5895EE28DF}"/>
          </ac:spMkLst>
        </pc:spChg>
        <pc:picChg chg="add mod ord modCrop">
          <ac:chgData name="Sadzida Vrana" userId="8c32c596-1b4d-4da4-b31a-f796641544b7" providerId="ADAL" clId="{4447F655-4D1A-4872-93D8-8CB36D7FCB3C}" dt="2024-02-14T07:32:17.011" v="1323" actId="1076"/>
          <ac:picMkLst>
            <pc:docMk/>
            <pc:sldMk cId="4283948165" sldId="11830"/>
            <ac:picMk id="7" creationId="{D096B1F2-CB31-ADF0-141C-CCD8C1C92168}"/>
          </ac:picMkLst>
        </pc:picChg>
      </pc:sldChg>
      <pc:sldChg chg="addSp delSp modSp new mod ord">
        <pc:chgData name="Sadzida Vrana" userId="8c32c596-1b4d-4da4-b31a-f796641544b7" providerId="ADAL" clId="{4447F655-4D1A-4872-93D8-8CB36D7FCB3C}" dt="2024-02-14T07:44:44.941" v="1431"/>
        <pc:sldMkLst>
          <pc:docMk/>
          <pc:sldMk cId="539130889" sldId="11831"/>
        </pc:sldMkLst>
        <pc:spChg chg="del">
          <ac:chgData name="Sadzida Vrana" userId="8c32c596-1b4d-4da4-b31a-f796641544b7" providerId="ADAL" clId="{4447F655-4D1A-4872-93D8-8CB36D7FCB3C}" dt="2024-02-14T07:37:18.789" v="1375" actId="931"/>
          <ac:spMkLst>
            <pc:docMk/>
            <pc:sldMk cId="539130889" sldId="11831"/>
            <ac:spMk id="2" creationId="{B366328A-21A5-659D-7414-BC4CFBB30CE5}"/>
          </ac:spMkLst>
        </pc:spChg>
        <pc:spChg chg="mod">
          <ac:chgData name="Sadzida Vrana" userId="8c32c596-1b4d-4da4-b31a-f796641544b7" providerId="ADAL" clId="{4447F655-4D1A-4872-93D8-8CB36D7FCB3C}" dt="2024-02-14T07:42:05.137" v="1415" actId="1076"/>
          <ac:spMkLst>
            <pc:docMk/>
            <pc:sldMk cId="539130889" sldId="11831"/>
            <ac:spMk id="7" creationId="{D1D3C367-EEC5-ACE2-6F4C-38F5DAE53F1F}"/>
          </ac:spMkLst>
        </pc:spChg>
        <pc:spChg chg="mod">
          <ac:chgData name="Sadzida Vrana" userId="8c32c596-1b4d-4da4-b31a-f796641544b7" providerId="ADAL" clId="{4447F655-4D1A-4872-93D8-8CB36D7FCB3C}" dt="2024-02-14T07:42:11.705" v="1417" actId="1076"/>
          <ac:spMkLst>
            <pc:docMk/>
            <pc:sldMk cId="539130889" sldId="11831"/>
            <ac:spMk id="8" creationId="{DFA8605D-DC48-836C-B81B-A6BDB203DD69}"/>
          </ac:spMkLst>
        </pc:spChg>
        <pc:spChg chg="mod">
          <ac:chgData name="Sadzida Vrana" userId="8c32c596-1b4d-4da4-b31a-f796641544b7" providerId="ADAL" clId="{4447F655-4D1A-4872-93D8-8CB36D7FCB3C}" dt="2024-02-14T07:42:22.580" v="1419" actId="1076"/>
          <ac:spMkLst>
            <pc:docMk/>
            <pc:sldMk cId="539130889" sldId="11831"/>
            <ac:spMk id="9" creationId="{735FFD0A-634A-7EF0-31B6-CE2C24928DD3}"/>
          </ac:spMkLst>
        </pc:spChg>
        <pc:spChg chg="mod">
          <ac:chgData name="Sadzida Vrana" userId="8c32c596-1b4d-4da4-b31a-f796641544b7" providerId="ADAL" clId="{4447F655-4D1A-4872-93D8-8CB36D7FCB3C}" dt="2024-02-14T07:42:01.374" v="1414" actId="1076"/>
          <ac:spMkLst>
            <pc:docMk/>
            <pc:sldMk cId="539130889" sldId="11831"/>
            <ac:spMk id="10" creationId="{209F0640-3E71-6B87-7E0F-EAE315341301}"/>
          </ac:spMkLst>
        </pc:spChg>
        <pc:spChg chg="mod">
          <ac:chgData name="Sadzida Vrana" userId="8c32c596-1b4d-4da4-b31a-f796641544b7" providerId="ADAL" clId="{4447F655-4D1A-4872-93D8-8CB36D7FCB3C}" dt="2024-02-14T07:42:08.693" v="1416" actId="1076"/>
          <ac:spMkLst>
            <pc:docMk/>
            <pc:sldMk cId="539130889" sldId="11831"/>
            <ac:spMk id="11" creationId="{7DE6684B-C564-7DB2-7358-E483EE3D29EE}"/>
          </ac:spMkLst>
        </pc:spChg>
        <pc:spChg chg="mod">
          <ac:chgData name="Sadzida Vrana" userId="8c32c596-1b4d-4da4-b31a-f796641544b7" providerId="ADAL" clId="{4447F655-4D1A-4872-93D8-8CB36D7FCB3C}" dt="2024-02-14T07:42:16.445" v="1418" actId="1076"/>
          <ac:spMkLst>
            <pc:docMk/>
            <pc:sldMk cId="539130889" sldId="11831"/>
            <ac:spMk id="12" creationId="{2610CEEA-9807-2872-D1B6-99DFD6D3E9D2}"/>
          </ac:spMkLst>
        </pc:spChg>
        <pc:spChg chg="mod">
          <ac:chgData name="Sadzida Vrana" userId="8c32c596-1b4d-4da4-b31a-f796641544b7" providerId="ADAL" clId="{4447F655-4D1A-4872-93D8-8CB36D7FCB3C}" dt="2024-02-14T07:38:13.190" v="1389" actId="20577"/>
          <ac:spMkLst>
            <pc:docMk/>
            <pc:sldMk cId="539130889" sldId="11831"/>
            <ac:spMk id="13" creationId="{0A0C4772-3C66-A841-6310-39F1B41C7BDD}"/>
          </ac:spMkLst>
        </pc:spChg>
        <pc:spChg chg="add mod">
          <ac:chgData name="Sadzida Vrana" userId="8c32c596-1b4d-4da4-b31a-f796641544b7" providerId="ADAL" clId="{4447F655-4D1A-4872-93D8-8CB36D7FCB3C}" dt="2024-02-14T07:42:29.713" v="1421" actId="1076"/>
          <ac:spMkLst>
            <pc:docMk/>
            <pc:sldMk cId="539130889" sldId="11831"/>
            <ac:spMk id="17" creationId="{7C53F789-0DAE-F2D8-D131-08FE6BCB47BE}"/>
          </ac:spMkLst>
        </pc:spChg>
        <pc:spChg chg="add mod">
          <ac:chgData name="Sadzida Vrana" userId="8c32c596-1b4d-4da4-b31a-f796641544b7" providerId="ADAL" clId="{4447F655-4D1A-4872-93D8-8CB36D7FCB3C}" dt="2024-02-14T07:42:38.992" v="1423" actId="1076"/>
          <ac:spMkLst>
            <pc:docMk/>
            <pc:sldMk cId="539130889" sldId="11831"/>
            <ac:spMk id="18" creationId="{A685AE01-165D-6AD4-A9E4-915648FB69C0}"/>
          </ac:spMkLst>
        </pc:spChg>
        <pc:spChg chg="add mod">
          <ac:chgData name="Sadzida Vrana" userId="8c32c596-1b4d-4da4-b31a-f796641544b7" providerId="ADAL" clId="{4447F655-4D1A-4872-93D8-8CB36D7FCB3C}" dt="2024-02-14T07:44:29.742" v="1428" actId="1076"/>
          <ac:spMkLst>
            <pc:docMk/>
            <pc:sldMk cId="539130889" sldId="11831"/>
            <ac:spMk id="21" creationId="{08C60D2B-2999-EBDC-2BAE-853002E345F2}"/>
          </ac:spMkLst>
        </pc:spChg>
        <pc:picChg chg="add mod">
          <ac:chgData name="Sadzida Vrana" userId="8c32c596-1b4d-4da4-b31a-f796641544b7" providerId="ADAL" clId="{4447F655-4D1A-4872-93D8-8CB36D7FCB3C}" dt="2024-02-14T07:37:22.426" v="1378" actId="1076"/>
          <ac:picMkLst>
            <pc:docMk/>
            <pc:sldMk cId="539130889" sldId="11831"/>
            <ac:picMk id="16" creationId="{1A862D80-86C2-F36E-C7D2-0A7BB558B990}"/>
          </ac:picMkLst>
        </pc:picChg>
        <pc:picChg chg="add mod">
          <ac:chgData name="Sadzida Vrana" userId="8c32c596-1b4d-4da4-b31a-f796641544b7" providerId="ADAL" clId="{4447F655-4D1A-4872-93D8-8CB36D7FCB3C}" dt="2024-02-14T07:42:27.307" v="1420" actId="1076"/>
          <ac:picMkLst>
            <pc:docMk/>
            <pc:sldMk cId="539130889" sldId="11831"/>
            <ac:picMk id="19" creationId="{4B33FCA1-DAED-1B1B-A9DD-E88060B81B79}"/>
          </ac:picMkLst>
        </pc:picChg>
        <pc:picChg chg="add mod">
          <ac:chgData name="Sadzida Vrana" userId="8c32c596-1b4d-4da4-b31a-f796641544b7" providerId="ADAL" clId="{4447F655-4D1A-4872-93D8-8CB36D7FCB3C}" dt="2024-02-14T07:42:35.608" v="1422" actId="1076"/>
          <ac:picMkLst>
            <pc:docMk/>
            <pc:sldMk cId="539130889" sldId="11831"/>
            <ac:picMk id="20" creationId="{34F1940A-35AE-9197-6E3E-4D9966DDD247}"/>
          </ac:picMkLst>
        </pc:picChg>
        <pc:picChg chg="add mod">
          <ac:chgData name="Sadzida Vrana" userId="8c32c596-1b4d-4da4-b31a-f796641544b7" providerId="ADAL" clId="{4447F655-4D1A-4872-93D8-8CB36D7FCB3C}" dt="2024-02-14T07:44:14.324" v="1425" actId="1076"/>
          <ac:picMkLst>
            <pc:docMk/>
            <pc:sldMk cId="539130889" sldId="11831"/>
            <ac:picMk id="22" creationId="{EE0A8023-A7B6-E1A4-1691-FC186DE38C08}"/>
          </ac:picMkLst>
        </pc:picChg>
      </pc:sldChg>
      <pc:sldChg chg="modSp new del mod">
        <pc:chgData name="Sadzida Vrana" userId="8c32c596-1b4d-4da4-b31a-f796641544b7" providerId="ADAL" clId="{4447F655-4D1A-4872-93D8-8CB36D7FCB3C}" dt="2024-02-14T07:44:40.595" v="1429" actId="2696"/>
        <pc:sldMkLst>
          <pc:docMk/>
          <pc:sldMk cId="161669963" sldId="11832"/>
        </pc:sldMkLst>
        <pc:spChg chg="mod">
          <ac:chgData name="Sadzida Vrana" userId="8c32c596-1b4d-4da4-b31a-f796641544b7" providerId="ADAL" clId="{4447F655-4D1A-4872-93D8-8CB36D7FCB3C}" dt="2024-02-14T07:38:56.716" v="1393" actId="255"/>
          <ac:spMkLst>
            <pc:docMk/>
            <pc:sldMk cId="161669963" sldId="11832"/>
            <ac:spMk id="7" creationId="{B9E6BA0B-14AA-B0AF-9028-5387506F7F27}"/>
          </ac:spMkLst>
        </pc:spChg>
        <pc:spChg chg="mod">
          <ac:chgData name="Sadzida Vrana" userId="8c32c596-1b4d-4da4-b31a-f796641544b7" providerId="ADAL" clId="{4447F655-4D1A-4872-93D8-8CB36D7FCB3C}" dt="2024-02-14T07:40:04.347" v="1398" actId="255"/>
          <ac:spMkLst>
            <pc:docMk/>
            <pc:sldMk cId="161669963" sldId="11832"/>
            <ac:spMk id="8" creationId="{4106BE6C-9212-2310-31F3-6105CBAC0BF0}"/>
          </ac:spMkLst>
        </pc:spChg>
        <pc:spChg chg="mod">
          <ac:chgData name="Sadzida Vrana" userId="8c32c596-1b4d-4da4-b31a-f796641544b7" providerId="ADAL" clId="{4447F655-4D1A-4872-93D8-8CB36D7FCB3C}" dt="2024-02-14T07:41:36.763" v="1409" actId="255"/>
          <ac:spMkLst>
            <pc:docMk/>
            <pc:sldMk cId="161669963" sldId="11832"/>
            <ac:spMk id="11" creationId="{B09655D2-DDC5-7DE2-EF73-D5E66CC1CCB6}"/>
          </ac:spMkLst>
        </pc:spChg>
      </pc:sldChg>
      <pc:sldChg chg="addSp modSp new mod">
        <pc:chgData name="Sadzida Vrana" userId="8c32c596-1b4d-4da4-b31a-f796641544b7" providerId="ADAL" clId="{4447F655-4D1A-4872-93D8-8CB36D7FCB3C}" dt="2024-02-14T07:56:15.804" v="1459" actId="1076"/>
        <pc:sldMkLst>
          <pc:docMk/>
          <pc:sldMk cId="4073491896" sldId="11832"/>
        </pc:sldMkLst>
        <pc:spChg chg="mod">
          <ac:chgData name="Sadzida Vrana" userId="8c32c596-1b4d-4da4-b31a-f796641544b7" providerId="ADAL" clId="{4447F655-4D1A-4872-93D8-8CB36D7FCB3C}" dt="2024-02-14T07:51:59.699" v="1448" actId="20577"/>
          <ac:spMkLst>
            <pc:docMk/>
            <pc:sldMk cId="4073491896" sldId="11832"/>
            <ac:spMk id="2" creationId="{2AB4206B-99B0-C415-C58C-52B39547286B}"/>
          </ac:spMkLst>
        </pc:spChg>
        <pc:spChg chg="mod">
          <ac:chgData name="Sadzida Vrana" userId="8c32c596-1b4d-4da4-b31a-f796641544b7" providerId="ADAL" clId="{4447F655-4D1A-4872-93D8-8CB36D7FCB3C}" dt="2024-02-14T07:52:44.874" v="1450" actId="14100"/>
          <ac:spMkLst>
            <pc:docMk/>
            <pc:sldMk cId="4073491896" sldId="11832"/>
            <ac:spMk id="3" creationId="{ED32CE90-4872-52BC-A13C-75DBFED745DF}"/>
          </ac:spMkLst>
        </pc:spChg>
        <pc:picChg chg="add mod">
          <ac:chgData name="Sadzida Vrana" userId="8c32c596-1b4d-4da4-b31a-f796641544b7" providerId="ADAL" clId="{4447F655-4D1A-4872-93D8-8CB36D7FCB3C}" dt="2024-02-14T07:55:38.837" v="1454" actId="1076"/>
          <ac:picMkLst>
            <pc:docMk/>
            <pc:sldMk cId="4073491896" sldId="11832"/>
            <ac:picMk id="7" creationId="{240B4C8F-0608-0CCC-E352-5714DF335B88}"/>
          </ac:picMkLst>
        </pc:picChg>
        <pc:picChg chg="add mod">
          <ac:chgData name="Sadzida Vrana" userId="8c32c596-1b4d-4da4-b31a-f796641544b7" providerId="ADAL" clId="{4447F655-4D1A-4872-93D8-8CB36D7FCB3C}" dt="2024-02-14T07:56:15.804" v="1459" actId="1076"/>
          <ac:picMkLst>
            <pc:docMk/>
            <pc:sldMk cId="4073491896" sldId="11832"/>
            <ac:picMk id="9" creationId="{B358799D-FAA9-DF86-5E83-DADEEDF7EE87}"/>
          </ac:picMkLst>
        </pc:picChg>
      </pc:sldChg>
      <pc:sldChg chg="addSp delSp modSp new mod">
        <pc:chgData name="Sadzida Vrana" userId="8c32c596-1b4d-4da4-b31a-f796641544b7" providerId="ADAL" clId="{4447F655-4D1A-4872-93D8-8CB36D7FCB3C}" dt="2024-02-14T08:00:52.793" v="1499" actId="1076"/>
        <pc:sldMkLst>
          <pc:docMk/>
          <pc:sldMk cId="310762534" sldId="11833"/>
        </pc:sldMkLst>
        <pc:spChg chg="mod">
          <ac:chgData name="Sadzida Vrana" userId="8c32c596-1b4d-4da4-b31a-f796641544b7" providerId="ADAL" clId="{4447F655-4D1A-4872-93D8-8CB36D7FCB3C}" dt="2024-02-14T08:00:37.082" v="1495" actId="113"/>
          <ac:spMkLst>
            <pc:docMk/>
            <pc:sldMk cId="310762534" sldId="11833"/>
            <ac:spMk id="2" creationId="{1E8F2DC1-BBFD-36F1-EADD-A0BB6A6F209E}"/>
          </ac:spMkLst>
        </pc:spChg>
        <pc:spChg chg="del">
          <ac:chgData name="Sadzida Vrana" userId="8c32c596-1b4d-4da4-b31a-f796641544b7" providerId="ADAL" clId="{4447F655-4D1A-4872-93D8-8CB36D7FCB3C}" dt="2024-02-14T07:59:59.016" v="1461"/>
          <ac:spMkLst>
            <pc:docMk/>
            <pc:sldMk cId="310762534" sldId="11833"/>
            <ac:spMk id="3" creationId="{D1348DC0-5AE7-8222-D80F-F11C53B08E87}"/>
          </ac:spMkLst>
        </pc:spChg>
        <pc:spChg chg="del">
          <ac:chgData name="Sadzida Vrana" userId="8c32c596-1b4d-4da4-b31a-f796641544b7" providerId="ADAL" clId="{4447F655-4D1A-4872-93D8-8CB36D7FCB3C}" dt="2024-02-14T08:00:47.540" v="1497" actId="478"/>
          <ac:spMkLst>
            <pc:docMk/>
            <pc:sldMk cId="310762534" sldId="11833"/>
            <ac:spMk id="5" creationId="{BA1CAB36-41B3-AA18-D40D-89D6ADD6D613}"/>
          </ac:spMkLst>
        </pc:spChg>
        <pc:spChg chg="del">
          <ac:chgData name="Sadzida Vrana" userId="8c32c596-1b4d-4da4-b31a-f796641544b7" providerId="ADAL" clId="{4447F655-4D1A-4872-93D8-8CB36D7FCB3C}" dt="2024-02-14T08:00:49.723" v="1498" actId="478"/>
          <ac:spMkLst>
            <pc:docMk/>
            <pc:sldMk cId="310762534" sldId="11833"/>
            <ac:spMk id="6" creationId="{09122091-25B3-D80A-AEAE-82DFB7F4659C}"/>
          </ac:spMkLst>
        </pc:spChg>
        <pc:picChg chg="add mod">
          <ac:chgData name="Sadzida Vrana" userId="8c32c596-1b4d-4da4-b31a-f796641544b7" providerId="ADAL" clId="{4447F655-4D1A-4872-93D8-8CB36D7FCB3C}" dt="2024-02-14T08:00:52.793" v="1499" actId="1076"/>
          <ac:picMkLst>
            <pc:docMk/>
            <pc:sldMk cId="310762534" sldId="11833"/>
            <ac:picMk id="8" creationId="{D8728B82-0C7B-B2FF-EF44-EDC9845C52D3}"/>
          </ac:picMkLst>
        </pc:picChg>
      </pc:sldChg>
      <pc:sldChg chg="addSp delSp modSp new mod ord">
        <pc:chgData name="Sadzida Vrana" userId="8c32c596-1b4d-4da4-b31a-f796641544b7" providerId="ADAL" clId="{4447F655-4D1A-4872-93D8-8CB36D7FCB3C}" dt="2024-02-14T08:04:49.505" v="1518"/>
        <pc:sldMkLst>
          <pc:docMk/>
          <pc:sldMk cId="564834492" sldId="11834"/>
        </pc:sldMkLst>
        <pc:spChg chg="mod">
          <ac:chgData name="Sadzida Vrana" userId="8c32c596-1b4d-4da4-b31a-f796641544b7" providerId="ADAL" clId="{4447F655-4D1A-4872-93D8-8CB36D7FCB3C}" dt="2024-02-14T08:03:44.633" v="1507"/>
          <ac:spMkLst>
            <pc:docMk/>
            <pc:sldMk cId="564834492" sldId="11834"/>
            <ac:spMk id="2" creationId="{9AEB18EA-3EFE-7A53-C6A2-D055DCE0C17E}"/>
          </ac:spMkLst>
        </pc:spChg>
        <pc:spChg chg="del">
          <ac:chgData name="Sadzida Vrana" userId="8c32c596-1b4d-4da4-b31a-f796641544b7" providerId="ADAL" clId="{4447F655-4D1A-4872-93D8-8CB36D7FCB3C}" dt="2024-02-14T08:03:19.557" v="1501" actId="22"/>
          <ac:spMkLst>
            <pc:docMk/>
            <pc:sldMk cId="564834492" sldId="11834"/>
            <ac:spMk id="3" creationId="{2BC764D8-DADA-A3D9-B67B-F0D815453E54}"/>
          </ac:spMkLst>
        </pc:spChg>
        <pc:picChg chg="add mod ord modCrop">
          <ac:chgData name="Sadzida Vrana" userId="8c32c596-1b4d-4da4-b31a-f796641544b7" providerId="ADAL" clId="{4447F655-4D1A-4872-93D8-8CB36D7FCB3C}" dt="2024-02-14T08:04:09.494" v="1514" actId="1076"/>
          <ac:picMkLst>
            <pc:docMk/>
            <pc:sldMk cId="564834492" sldId="11834"/>
            <ac:picMk id="7" creationId="{FDB49843-E3DD-037B-CBE4-C388ACFB2E0B}"/>
          </ac:picMkLst>
        </pc:picChg>
      </pc:sldChg>
      <pc:sldChg chg="addSp delSp modSp new mod">
        <pc:chgData name="Sadzida Vrana" userId="8c32c596-1b4d-4da4-b31a-f796641544b7" providerId="ADAL" clId="{4447F655-4D1A-4872-93D8-8CB36D7FCB3C}" dt="2024-02-14T08:07:49.689" v="1585" actId="1076"/>
        <pc:sldMkLst>
          <pc:docMk/>
          <pc:sldMk cId="3942947842" sldId="11835"/>
        </pc:sldMkLst>
        <pc:spChg chg="mod">
          <ac:chgData name="Sadzida Vrana" userId="8c32c596-1b4d-4da4-b31a-f796641544b7" providerId="ADAL" clId="{4447F655-4D1A-4872-93D8-8CB36D7FCB3C}" dt="2024-02-14T08:06:42.017" v="1553" actId="14100"/>
          <ac:spMkLst>
            <pc:docMk/>
            <pc:sldMk cId="3942947842" sldId="11835"/>
            <ac:spMk id="2" creationId="{153248FF-F6F1-CAB8-2DDB-75A91664765C}"/>
          </ac:spMkLst>
        </pc:spChg>
        <pc:spChg chg="del">
          <ac:chgData name="Sadzida Vrana" userId="8c32c596-1b4d-4da4-b31a-f796641544b7" providerId="ADAL" clId="{4447F655-4D1A-4872-93D8-8CB36D7FCB3C}" dt="2024-02-14T08:05:35.445" v="1520"/>
          <ac:spMkLst>
            <pc:docMk/>
            <pc:sldMk cId="3942947842" sldId="11835"/>
            <ac:spMk id="3" creationId="{C2D98A3D-34C0-3F06-7343-E6631342A626}"/>
          </ac:spMkLst>
        </pc:spChg>
        <pc:spChg chg="del">
          <ac:chgData name="Sadzida Vrana" userId="8c32c596-1b4d-4da4-b31a-f796641544b7" providerId="ADAL" clId="{4447F655-4D1A-4872-93D8-8CB36D7FCB3C}" dt="2024-02-14T08:07:01.837" v="1555"/>
          <ac:spMkLst>
            <pc:docMk/>
            <pc:sldMk cId="3942947842" sldId="11835"/>
            <ac:spMk id="5" creationId="{82192E8A-9BC0-D86F-E614-395F58E6742E}"/>
          </ac:spMkLst>
        </pc:spChg>
        <pc:spChg chg="add mod">
          <ac:chgData name="Sadzida Vrana" userId="8c32c596-1b4d-4da4-b31a-f796641544b7" providerId="ADAL" clId="{4447F655-4D1A-4872-93D8-8CB36D7FCB3C}" dt="2024-02-14T08:07:49.689" v="1585" actId="1076"/>
          <ac:spMkLst>
            <pc:docMk/>
            <pc:sldMk cId="3942947842" sldId="11835"/>
            <ac:spMk id="9" creationId="{9DC90EA1-885F-2EF5-CA05-19455F36CE10}"/>
          </ac:spMkLst>
        </pc:spChg>
        <pc:picChg chg="add mod">
          <ac:chgData name="Sadzida Vrana" userId="8c32c596-1b4d-4da4-b31a-f796641544b7" providerId="ADAL" clId="{4447F655-4D1A-4872-93D8-8CB36D7FCB3C}" dt="2024-02-14T08:07:08.100" v="1557" actId="14100"/>
          <ac:picMkLst>
            <pc:docMk/>
            <pc:sldMk cId="3942947842" sldId="11835"/>
            <ac:picMk id="7" creationId="{06DE7708-E015-B1E4-7FAC-A51D2C11D7F0}"/>
          </ac:picMkLst>
        </pc:picChg>
        <pc:picChg chg="add mod">
          <ac:chgData name="Sadzida Vrana" userId="8c32c596-1b4d-4da4-b31a-f796641544b7" providerId="ADAL" clId="{4447F655-4D1A-4872-93D8-8CB36D7FCB3C}" dt="2024-02-14T08:07:38.445" v="1583" actId="1076"/>
          <ac:picMkLst>
            <pc:docMk/>
            <pc:sldMk cId="3942947842" sldId="11835"/>
            <ac:picMk id="8" creationId="{1A0F44FD-B66B-F0E5-2CE2-BE3AB82E7505}"/>
          </ac:picMkLst>
        </pc:picChg>
      </pc:sldChg>
      <pc:sldChg chg="new">
        <pc:chgData name="Sadzida Vrana" userId="8c32c596-1b4d-4da4-b31a-f796641544b7" providerId="ADAL" clId="{4447F655-4D1A-4872-93D8-8CB36D7FCB3C}" dt="2024-02-14T08:07:57.307" v="1586" actId="680"/>
        <pc:sldMkLst>
          <pc:docMk/>
          <pc:sldMk cId="885711964" sldId="11836"/>
        </pc:sldMkLst>
      </pc:sldChg>
      <pc:sldMasterChg chg="delSldLayout">
        <pc:chgData name="Sadzida Vrana" userId="8c32c596-1b4d-4da4-b31a-f796641544b7" providerId="ADAL" clId="{4447F655-4D1A-4872-93D8-8CB36D7FCB3C}" dt="2024-02-14T08:09:20.690" v="1613" actId="47"/>
        <pc:sldMasterMkLst>
          <pc:docMk/>
          <pc:sldMasterMk cId="3252287160" sldId="2147483648"/>
        </pc:sldMasterMkLst>
        <pc:sldLayoutChg chg="del">
          <pc:chgData name="Sadzida Vrana" userId="8c32c596-1b4d-4da4-b31a-f796641544b7" providerId="ADAL" clId="{4447F655-4D1A-4872-93D8-8CB36D7FCB3C}" dt="2024-02-14T08:08:46.585" v="1603" actId="47"/>
          <pc:sldLayoutMkLst>
            <pc:docMk/>
            <pc:sldMasterMk cId="3252287160" sldId="2147483648"/>
            <pc:sldLayoutMk cId="2809470228" sldId="2147483818"/>
          </pc:sldLayoutMkLst>
        </pc:sldLayoutChg>
        <pc:sldLayoutChg chg="del">
          <pc:chgData name="Sadzida Vrana" userId="8c32c596-1b4d-4da4-b31a-f796641544b7" providerId="ADAL" clId="{4447F655-4D1A-4872-93D8-8CB36D7FCB3C}" dt="2024-02-14T08:09:20.690" v="1613" actId="47"/>
          <pc:sldLayoutMkLst>
            <pc:docMk/>
            <pc:sldMasterMk cId="3252287160" sldId="2147483648"/>
            <pc:sldLayoutMk cId="3521553307" sldId="2147483819"/>
          </pc:sldLayoutMkLst>
        </pc:sldLayoutChg>
        <pc:sldLayoutChg chg="del">
          <pc:chgData name="Sadzida Vrana" userId="8c32c596-1b4d-4da4-b31a-f796641544b7" providerId="ADAL" clId="{4447F655-4D1A-4872-93D8-8CB36D7FCB3C}" dt="2024-02-14T08:09:16.048" v="1608" actId="47"/>
          <pc:sldLayoutMkLst>
            <pc:docMk/>
            <pc:sldMasterMk cId="3252287160" sldId="2147483648"/>
            <pc:sldLayoutMk cId="855369832" sldId="2147483820"/>
          </pc:sldLayoutMkLst>
        </pc:sldLayoutChg>
      </pc:sldMasterChg>
    </pc:docChg>
  </pc:docChgLst>
  <pc:docChgLst>
    <pc:chgData name="Sadzida Vrana" userId="8c32c596-1b4d-4da4-b31a-f796641544b7" providerId="ADAL" clId="{96DAD605-1E9A-444A-9C67-BCE00B99DAC5}"/>
    <pc:docChg chg="undo custSel addSld delSld modSld sldOrd modSection">
      <pc:chgData name="Sadzida Vrana" userId="8c32c596-1b4d-4da4-b31a-f796641544b7" providerId="ADAL" clId="{96DAD605-1E9A-444A-9C67-BCE00B99DAC5}" dt="2024-02-14T11:54:22.585" v="1117" actId="20577"/>
      <pc:docMkLst>
        <pc:docMk/>
      </pc:docMkLst>
      <pc:sldChg chg="modSp mod">
        <pc:chgData name="Sadzida Vrana" userId="8c32c596-1b4d-4da4-b31a-f796641544b7" providerId="ADAL" clId="{96DAD605-1E9A-444A-9C67-BCE00B99DAC5}" dt="2024-02-14T11:54:22.585" v="1117" actId="20577"/>
        <pc:sldMkLst>
          <pc:docMk/>
          <pc:sldMk cId="2809301111" sldId="632"/>
        </pc:sldMkLst>
        <pc:spChg chg="mod">
          <ac:chgData name="Sadzida Vrana" userId="8c32c596-1b4d-4da4-b31a-f796641544b7" providerId="ADAL" clId="{96DAD605-1E9A-444A-9C67-BCE00B99DAC5}" dt="2024-02-14T11:54:22.585" v="1117" actId="20577"/>
          <ac:spMkLst>
            <pc:docMk/>
            <pc:sldMk cId="2809301111" sldId="632"/>
            <ac:spMk id="3" creationId="{47E89CBB-8A04-1AB0-4A8B-5828495F6ADC}"/>
          </ac:spMkLst>
        </pc:spChg>
      </pc:sldChg>
      <pc:sldChg chg="addSp modSp mod">
        <pc:chgData name="Sadzida Vrana" userId="8c32c596-1b4d-4da4-b31a-f796641544b7" providerId="ADAL" clId="{96DAD605-1E9A-444A-9C67-BCE00B99DAC5}" dt="2024-02-14T11:52:06.158" v="1093" actId="1076"/>
        <pc:sldMkLst>
          <pc:docMk/>
          <pc:sldMk cId="1438822100" sldId="11816"/>
        </pc:sldMkLst>
        <pc:spChg chg="mod">
          <ac:chgData name="Sadzida Vrana" userId="8c32c596-1b4d-4da4-b31a-f796641544b7" providerId="ADAL" clId="{96DAD605-1E9A-444A-9C67-BCE00B99DAC5}" dt="2024-02-14T11:47:10.789" v="820" actId="255"/>
          <ac:spMkLst>
            <pc:docMk/>
            <pc:sldMk cId="1438822100" sldId="11816"/>
            <ac:spMk id="5" creationId="{0C2A1D4D-4565-ED38-8601-11E454C37D26}"/>
          </ac:spMkLst>
        </pc:spChg>
        <pc:spChg chg="add mod">
          <ac:chgData name="Sadzida Vrana" userId="8c32c596-1b4d-4da4-b31a-f796641544b7" providerId="ADAL" clId="{96DAD605-1E9A-444A-9C67-BCE00B99DAC5}" dt="2024-02-14T11:49:17.456" v="959" actId="1076"/>
          <ac:spMkLst>
            <pc:docMk/>
            <pc:sldMk cId="1438822100" sldId="11816"/>
            <ac:spMk id="8" creationId="{EF06AE11-B627-059D-D292-36D0A260954B}"/>
          </ac:spMkLst>
        </pc:spChg>
        <pc:spChg chg="add mod">
          <ac:chgData name="Sadzida Vrana" userId="8c32c596-1b4d-4da4-b31a-f796641544b7" providerId="ADAL" clId="{96DAD605-1E9A-444A-9C67-BCE00B99DAC5}" dt="2024-02-14T11:50:14.866" v="993" actId="1076"/>
          <ac:spMkLst>
            <pc:docMk/>
            <pc:sldMk cId="1438822100" sldId="11816"/>
            <ac:spMk id="13" creationId="{603352B1-5445-6AF5-7FCE-D6177993ACA1}"/>
          </ac:spMkLst>
        </pc:spChg>
        <pc:spChg chg="mod">
          <ac:chgData name="Sadzida Vrana" userId="8c32c596-1b4d-4da4-b31a-f796641544b7" providerId="ADAL" clId="{96DAD605-1E9A-444A-9C67-BCE00B99DAC5}" dt="2024-02-14T11:47:49.497" v="850" actId="1076"/>
          <ac:spMkLst>
            <pc:docMk/>
            <pc:sldMk cId="1438822100" sldId="11816"/>
            <ac:spMk id="15" creationId="{B75EB29D-B1FD-0659-51B4-F02E72031A60}"/>
          </ac:spMkLst>
        </pc:spChg>
        <pc:spChg chg="mod">
          <ac:chgData name="Sadzida Vrana" userId="8c32c596-1b4d-4da4-b31a-f796641544b7" providerId="ADAL" clId="{96DAD605-1E9A-444A-9C67-BCE00B99DAC5}" dt="2024-02-14T11:46:47.224" v="806" actId="20577"/>
          <ac:spMkLst>
            <pc:docMk/>
            <pc:sldMk cId="1438822100" sldId="11816"/>
            <ac:spMk id="16" creationId="{6DAC4400-ECC0-F7EF-450E-FEF92271DAD9}"/>
          </ac:spMkLst>
        </pc:spChg>
        <pc:spChg chg="add mod">
          <ac:chgData name="Sadzida Vrana" userId="8c32c596-1b4d-4da4-b31a-f796641544b7" providerId="ADAL" clId="{96DAD605-1E9A-444A-9C67-BCE00B99DAC5}" dt="2024-02-14T11:50:32.318" v="1023" actId="1076"/>
          <ac:spMkLst>
            <pc:docMk/>
            <pc:sldMk cId="1438822100" sldId="11816"/>
            <ac:spMk id="17" creationId="{3FDD0143-A9CB-A06C-56F3-FA3511EE9205}"/>
          </ac:spMkLst>
        </pc:spChg>
        <pc:spChg chg="add mod">
          <ac:chgData name="Sadzida Vrana" userId="8c32c596-1b4d-4da4-b31a-f796641544b7" providerId="ADAL" clId="{96DAD605-1E9A-444A-9C67-BCE00B99DAC5}" dt="2024-02-14T11:52:06.158" v="1093" actId="1076"/>
          <ac:spMkLst>
            <pc:docMk/>
            <pc:sldMk cId="1438822100" sldId="11816"/>
            <ac:spMk id="19" creationId="{67C0233B-71C0-2A7E-D9D4-E6775EDE9977}"/>
          </ac:spMkLst>
        </pc:spChg>
        <pc:picChg chg="add mod">
          <ac:chgData name="Sadzida Vrana" userId="8c32c596-1b4d-4da4-b31a-f796641544b7" providerId="ADAL" clId="{96DAD605-1E9A-444A-9C67-BCE00B99DAC5}" dt="2024-02-14T11:48:53.197" v="919" actId="1076"/>
          <ac:picMkLst>
            <pc:docMk/>
            <pc:sldMk cId="1438822100" sldId="11816"/>
            <ac:picMk id="2" creationId="{FE841424-64F6-3D5C-6660-5EA7909A0230}"/>
          </ac:picMkLst>
        </pc:picChg>
        <pc:picChg chg="add mod">
          <ac:chgData name="Sadzida Vrana" userId="8c32c596-1b4d-4da4-b31a-f796641544b7" providerId="ADAL" clId="{96DAD605-1E9A-444A-9C67-BCE00B99DAC5}" dt="2024-02-14T11:51:36.280" v="1051" actId="1076"/>
          <ac:picMkLst>
            <pc:docMk/>
            <pc:sldMk cId="1438822100" sldId="11816"/>
            <ac:picMk id="18" creationId="{F82A0ADC-9590-9A1E-C49C-068768EE0E4A}"/>
          </ac:picMkLst>
        </pc:picChg>
      </pc:sldChg>
      <pc:sldChg chg="addSp delSp modSp mod">
        <pc:chgData name="Sadzida Vrana" userId="8c32c596-1b4d-4da4-b31a-f796641544b7" providerId="ADAL" clId="{96DAD605-1E9A-444A-9C67-BCE00B99DAC5}" dt="2024-02-14T10:41:09.295" v="359" actId="21"/>
        <pc:sldMkLst>
          <pc:docMk/>
          <pc:sldMk cId="539130889" sldId="11831"/>
        </pc:sldMkLst>
        <pc:spChg chg="add del mod">
          <ac:chgData name="Sadzida Vrana" userId="8c32c596-1b4d-4da4-b31a-f796641544b7" providerId="ADAL" clId="{96DAD605-1E9A-444A-9C67-BCE00B99DAC5}" dt="2024-02-14T10:41:09.295" v="359" actId="21"/>
          <ac:spMkLst>
            <pc:docMk/>
            <pc:sldMk cId="539130889" sldId="11831"/>
            <ac:spMk id="7" creationId="{D1D3C367-EEC5-ACE2-6F4C-38F5DAE53F1F}"/>
          </ac:spMkLst>
        </pc:spChg>
        <pc:spChg chg="mod">
          <ac:chgData name="Sadzida Vrana" userId="8c32c596-1b4d-4da4-b31a-f796641544b7" providerId="ADAL" clId="{96DAD605-1E9A-444A-9C67-BCE00B99DAC5}" dt="2024-02-14T10:35:24.947" v="330" actId="255"/>
          <ac:spMkLst>
            <pc:docMk/>
            <pc:sldMk cId="539130889" sldId="11831"/>
            <ac:spMk id="8" creationId="{DFA8605D-DC48-836C-B81B-A6BDB203DD69}"/>
          </ac:spMkLst>
        </pc:spChg>
        <pc:spChg chg="mod">
          <ac:chgData name="Sadzida Vrana" userId="8c32c596-1b4d-4da4-b31a-f796641544b7" providerId="ADAL" clId="{96DAD605-1E9A-444A-9C67-BCE00B99DAC5}" dt="2024-02-14T10:35:34.490" v="332" actId="255"/>
          <ac:spMkLst>
            <pc:docMk/>
            <pc:sldMk cId="539130889" sldId="11831"/>
            <ac:spMk id="9" creationId="{735FFD0A-634A-7EF0-31B6-CE2C24928DD3}"/>
          </ac:spMkLst>
        </pc:spChg>
        <pc:spChg chg="add del mod">
          <ac:chgData name="Sadzida Vrana" userId="8c32c596-1b4d-4da4-b31a-f796641544b7" providerId="ADAL" clId="{96DAD605-1E9A-444A-9C67-BCE00B99DAC5}" dt="2024-02-14T10:41:09.295" v="359" actId="21"/>
          <ac:spMkLst>
            <pc:docMk/>
            <pc:sldMk cId="539130889" sldId="11831"/>
            <ac:spMk id="15" creationId="{A11883FA-5E30-EF73-E748-9922F30D914E}"/>
          </ac:spMkLst>
        </pc:spChg>
        <pc:spChg chg="mod">
          <ac:chgData name="Sadzida Vrana" userId="8c32c596-1b4d-4da4-b31a-f796641544b7" providerId="ADAL" clId="{96DAD605-1E9A-444A-9C67-BCE00B99DAC5}" dt="2024-02-14T10:35:58.132" v="336" actId="20577"/>
          <ac:spMkLst>
            <pc:docMk/>
            <pc:sldMk cId="539130889" sldId="11831"/>
            <ac:spMk id="17" creationId="{7C53F789-0DAE-F2D8-D131-08FE6BCB47BE}"/>
          </ac:spMkLst>
        </pc:spChg>
        <pc:spChg chg="mod">
          <ac:chgData name="Sadzida Vrana" userId="8c32c596-1b4d-4da4-b31a-f796641544b7" providerId="ADAL" clId="{96DAD605-1E9A-444A-9C67-BCE00B99DAC5}" dt="2024-02-14T10:35:49.511" v="334" actId="20577"/>
          <ac:spMkLst>
            <pc:docMk/>
            <pc:sldMk cId="539130889" sldId="11831"/>
            <ac:spMk id="18" creationId="{A685AE01-165D-6AD4-A9E4-915648FB69C0}"/>
          </ac:spMkLst>
        </pc:spChg>
        <pc:spChg chg="mod">
          <ac:chgData name="Sadzida Vrana" userId="8c32c596-1b4d-4da4-b31a-f796641544b7" providerId="ADAL" clId="{96DAD605-1E9A-444A-9C67-BCE00B99DAC5}" dt="2024-02-14T10:35:53.557" v="335" actId="20577"/>
          <ac:spMkLst>
            <pc:docMk/>
            <pc:sldMk cId="539130889" sldId="11831"/>
            <ac:spMk id="21" creationId="{08C60D2B-2999-EBDC-2BAE-853002E345F2}"/>
          </ac:spMkLst>
        </pc:spChg>
      </pc:sldChg>
      <pc:sldChg chg="modSp mod">
        <pc:chgData name="Sadzida Vrana" userId="8c32c596-1b4d-4da4-b31a-f796641544b7" providerId="ADAL" clId="{96DAD605-1E9A-444A-9C67-BCE00B99DAC5}" dt="2024-02-14T10:36:32.089" v="348" actId="20577"/>
        <pc:sldMkLst>
          <pc:docMk/>
          <pc:sldMk cId="4073491896" sldId="11832"/>
        </pc:sldMkLst>
        <pc:spChg chg="mod">
          <ac:chgData name="Sadzida Vrana" userId="8c32c596-1b4d-4da4-b31a-f796641544b7" providerId="ADAL" clId="{96DAD605-1E9A-444A-9C67-BCE00B99DAC5}" dt="2024-02-14T10:36:32.089" v="348" actId="20577"/>
          <ac:spMkLst>
            <pc:docMk/>
            <pc:sldMk cId="4073491896" sldId="11832"/>
            <ac:spMk id="3" creationId="{ED32CE90-4872-52BC-A13C-75DBFED745DF}"/>
          </ac:spMkLst>
        </pc:spChg>
      </pc:sldChg>
      <pc:sldChg chg="addSp delSp modSp mod">
        <pc:chgData name="Sadzida Vrana" userId="8c32c596-1b4d-4da4-b31a-f796641544b7" providerId="ADAL" clId="{96DAD605-1E9A-444A-9C67-BCE00B99DAC5}" dt="2024-02-14T10:18:59.939" v="47" actId="20577"/>
        <pc:sldMkLst>
          <pc:docMk/>
          <pc:sldMk cId="885711964" sldId="11836"/>
        </pc:sldMkLst>
        <pc:spChg chg="del">
          <ac:chgData name="Sadzida Vrana" userId="8c32c596-1b4d-4da4-b31a-f796641544b7" providerId="ADAL" clId="{96DAD605-1E9A-444A-9C67-BCE00B99DAC5}" dt="2024-02-14T10:17:41.576" v="10" actId="478"/>
          <ac:spMkLst>
            <pc:docMk/>
            <pc:sldMk cId="885711964" sldId="11836"/>
            <ac:spMk id="2" creationId="{1ABF5227-EB55-1A37-5DBB-5254DBF17171}"/>
          </ac:spMkLst>
        </pc:spChg>
        <pc:spChg chg="del">
          <ac:chgData name="Sadzida Vrana" userId="8c32c596-1b4d-4da4-b31a-f796641544b7" providerId="ADAL" clId="{96DAD605-1E9A-444A-9C67-BCE00B99DAC5}" dt="2024-02-14T10:17:31.183" v="8"/>
          <ac:spMkLst>
            <pc:docMk/>
            <pc:sldMk cId="885711964" sldId="11836"/>
            <ac:spMk id="3" creationId="{69FE3C44-5E4A-49BA-4E6D-91F96B24B25F}"/>
          </ac:spMkLst>
        </pc:spChg>
        <pc:spChg chg="del">
          <ac:chgData name="Sadzida Vrana" userId="8c32c596-1b4d-4da4-b31a-f796641544b7" providerId="ADAL" clId="{96DAD605-1E9A-444A-9C67-BCE00B99DAC5}" dt="2024-02-14T10:17:44.212" v="11" actId="478"/>
          <ac:spMkLst>
            <pc:docMk/>
            <pc:sldMk cId="885711964" sldId="11836"/>
            <ac:spMk id="5" creationId="{CDBEAC11-DCFA-E54E-081B-637EFD746078}"/>
          </ac:spMkLst>
        </pc:spChg>
        <pc:spChg chg="add mod">
          <ac:chgData name="Sadzida Vrana" userId="8c32c596-1b4d-4da4-b31a-f796641544b7" providerId="ADAL" clId="{96DAD605-1E9A-444A-9C67-BCE00B99DAC5}" dt="2024-02-14T10:18:05.216" v="29" actId="20577"/>
          <ac:spMkLst>
            <pc:docMk/>
            <pc:sldMk cId="885711964" sldId="11836"/>
            <ac:spMk id="8" creationId="{926C9AF6-B290-165B-41B2-B50DA70E4F04}"/>
          </ac:spMkLst>
        </pc:spChg>
        <pc:spChg chg="add mod">
          <ac:chgData name="Sadzida Vrana" userId="8c32c596-1b4d-4da4-b31a-f796641544b7" providerId="ADAL" clId="{96DAD605-1E9A-444A-9C67-BCE00B99DAC5}" dt="2024-02-14T10:18:59.939" v="47" actId="20577"/>
          <ac:spMkLst>
            <pc:docMk/>
            <pc:sldMk cId="885711964" sldId="11836"/>
            <ac:spMk id="10" creationId="{3033199B-35FB-5205-539D-582F4A78A990}"/>
          </ac:spMkLst>
        </pc:spChg>
        <pc:picChg chg="add mod">
          <ac:chgData name="Sadzida Vrana" userId="8c32c596-1b4d-4da4-b31a-f796641544b7" providerId="ADAL" clId="{96DAD605-1E9A-444A-9C67-BCE00B99DAC5}" dt="2024-02-14T10:18:08.978" v="30" actId="1076"/>
          <ac:picMkLst>
            <pc:docMk/>
            <pc:sldMk cId="885711964" sldId="11836"/>
            <ac:picMk id="7" creationId="{19895B6E-97FE-6743-E614-4D5D3D919861}"/>
          </ac:picMkLst>
        </pc:picChg>
        <pc:picChg chg="add mod">
          <ac:chgData name="Sadzida Vrana" userId="8c32c596-1b4d-4da4-b31a-f796641544b7" providerId="ADAL" clId="{96DAD605-1E9A-444A-9C67-BCE00B99DAC5}" dt="2024-02-14T10:18:40.702" v="33" actId="1076"/>
          <ac:picMkLst>
            <pc:docMk/>
            <pc:sldMk cId="885711964" sldId="11836"/>
            <ac:picMk id="9" creationId="{D2E39D16-7BF0-4123-676C-21D0502886F1}"/>
          </ac:picMkLst>
        </pc:picChg>
      </pc:sldChg>
      <pc:sldChg chg="addSp delSp modSp new mod">
        <pc:chgData name="Sadzida Vrana" userId="8c32c596-1b4d-4da4-b31a-f796641544b7" providerId="ADAL" clId="{96DAD605-1E9A-444A-9C67-BCE00B99DAC5}" dt="2024-02-14T10:20:42.722" v="102" actId="20577"/>
        <pc:sldMkLst>
          <pc:docMk/>
          <pc:sldMk cId="3915537676" sldId="11837"/>
        </pc:sldMkLst>
        <pc:spChg chg="del">
          <ac:chgData name="Sadzida Vrana" userId="8c32c596-1b4d-4da4-b31a-f796641544b7" providerId="ADAL" clId="{96DAD605-1E9A-444A-9C67-BCE00B99DAC5}" dt="2024-02-14T10:19:31.414" v="52" actId="21"/>
          <ac:spMkLst>
            <pc:docMk/>
            <pc:sldMk cId="3915537676" sldId="11837"/>
            <ac:spMk id="2" creationId="{2EC5D6DD-C4A0-06A9-797F-6BFDB499B144}"/>
          </ac:spMkLst>
        </pc:spChg>
        <pc:spChg chg="add mod">
          <ac:chgData name="Sadzida Vrana" userId="8c32c596-1b4d-4da4-b31a-f796641544b7" providerId="ADAL" clId="{96DAD605-1E9A-444A-9C67-BCE00B99DAC5}" dt="2024-02-14T10:19:53.371" v="80" actId="14100"/>
          <ac:spMkLst>
            <pc:docMk/>
            <pc:sldMk cId="3915537676" sldId="11837"/>
            <ac:spMk id="6" creationId="{5BF6D29D-EBF4-6EEB-A48B-EDC75928068B}"/>
          </ac:spMkLst>
        </pc:spChg>
        <pc:spChg chg="add mod">
          <ac:chgData name="Sadzida Vrana" userId="8c32c596-1b4d-4da4-b31a-f796641544b7" providerId="ADAL" clId="{96DAD605-1E9A-444A-9C67-BCE00B99DAC5}" dt="2024-02-14T10:20:42.722" v="102" actId="20577"/>
          <ac:spMkLst>
            <pc:docMk/>
            <pc:sldMk cId="3915537676" sldId="11837"/>
            <ac:spMk id="8" creationId="{C1A7E4BB-D22A-51FB-6E9E-ADF43B5E5AC0}"/>
          </ac:spMkLst>
        </pc:spChg>
        <pc:picChg chg="add mod">
          <ac:chgData name="Sadzida Vrana" userId="8c32c596-1b4d-4da4-b31a-f796641544b7" providerId="ADAL" clId="{96DAD605-1E9A-444A-9C67-BCE00B99DAC5}" dt="2024-02-14T10:20:20.942" v="83" actId="1076"/>
          <ac:picMkLst>
            <pc:docMk/>
            <pc:sldMk cId="3915537676" sldId="11837"/>
            <ac:picMk id="5" creationId="{DEF47321-88A0-B8E7-CC04-2D21954851DA}"/>
          </ac:picMkLst>
        </pc:picChg>
        <pc:picChg chg="add mod">
          <ac:chgData name="Sadzida Vrana" userId="8c32c596-1b4d-4da4-b31a-f796641544b7" providerId="ADAL" clId="{96DAD605-1E9A-444A-9C67-BCE00B99DAC5}" dt="2024-02-14T10:20:18.305" v="82" actId="1076"/>
          <ac:picMkLst>
            <pc:docMk/>
            <pc:sldMk cId="3915537676" sldId="11837"/>
            <ac:picMk id="7" creationId="{8279BEDF-A44C-21DB-7250-58B9D98A2CA1}"/>
          </ac:picMkLst>
        </pc:picChg>
      </pc:sldChg>
      <pc:sldChg chg="addSp delSp modSp new mod">
        <pc:chgData name="Sadzida Vrana" userId="8c32c596-1b4d-4da4-b31a-f796641544b7" providerId="ADAL" clId="{96DAD605-1E9A-444A-9C67-BCE00B99DAC5}" dt="2024-02-14T10:34:45.202" v="327" actId="1076"/>
        <pc:sldMkLst>
          <pc:docMk/>
          <pc:sldMk cId="1650431396" sldId="11838"/>
        </pc:sldMkLst>
        <pc:spChg chg="mod">
          <ac:chgData name="Sadzida Vrana" userId="8c32c596-1b4d-4da4-b31a-f796641544b7" providerId="ADAL" clId="{96DAD605-1E9A-444A-9C67-BCE00B99DAC5}" dt="2024-02-14T10:25:34.312" v="155" actId="20577"/>
          <ac:spMkLst>
            <pc:docMk/>
            <pc:sldMk cId="1650431396" sldId="11838"/>
            <ac:spMk id="2" creationId="{2745A0E7-7394-B02F-045D-E862C95012C3}"/>
          </ac:spMkLst>
        </pc:spChg>
        <pc:spChg chg="mod">
          <ac:chgData name="Sadzida Vrana" userId="8c32c596-1b4d-4da4-b31a-f796641544b7" providerId="ADAL" clId="{96DAD605-1E9A-444A-9C67-BCE00B99DAC5}" dt="2024-02-14T10:33:13.601" v="320" actId="20577"/>
          <ac:spMkLst>
            <pc:docMk/>
            <pc:sldMk cId="1650431396" sldId="11838"/>
            <ac:spMk id="3" creationId="{4E8F4FF1-24F5-01AA-5D6A-481D091D3396}"/>
          </ac:spMkLst>
        </pc:spChg>
        <pc:spChg chg="del">
          <ac:chgData name="Sadzida Vrana" userId="8c32c596-1b4d-4da4-b31a-f796641544b7" providerId="ADAL" clId="{96DAD605-1E9A-444A-9C67-BCE00B99DAC5}" dt="2024-02-14T10:25:47.218" v="156"/>
          <ac:spMkLst>
            <pc:docMk/>
            <pc:sldMk cId="1650431396" sldId="11838"/>
            <ac:spMk id="5" creationId="{E1135060-9609-C829-BE45-842CB14A674D}"/>
          </ac:spMkLst>
        </pc:spChg>
        <pc:spChg chg="mod">
          <ac:chgData name="Sadzida Vrana" userId="8c32c596-1b4d-4da4-b31a-f796641544b7" providerId="ADAL" clId="{96DAD605-1E9A-444A-9C67-BCE00B99DAC5}" dt="2024-02-14T10:28:20.735" v="228" actId="1076"/>
          <ac:spMkLst>
            <pc:docMk/>
            <pc:sldMk cId="1650431396" sldId="11838"/>
            <ac:spMk id="6" creationId="{93133669-BC2A-2407-2234-DDD806F27B2A}"/>
          </ac:spMkLst>
        </pc:spChg>
        <pc:spChg chg="add mod">
          <ac:chgData name="Sadzida Vrana" userId="8c32c596-1b4d-4da4-b31a-f796641544b7" providerId="ADAL" clId="{96DAD605-1E9A-444A-9C67-BCE00B99DAC5}" dt="2024-02-14T10:34:45.202" v="327" actId="1076"/>
          <ac:spMkLst>
            <pc:docMk/>
            <pc:sldMk cId="1650431396" sldId="11838"/>
            <ac:spMk id="10" creationId="{238725D4-6F06-E445-6F17-3A647B74EA2A}"/>
          </ac:spMkLst>
        </pc:spChg>
        <pc:picChg chg="add del mod">
          <ac:chgData name="Sadzida Vrana" userId="8c32c596-1b4d-4da4-b31a-f796641544b7" providerId="ADAL" clId="{96DAD605-1E9A-444A-9C67-BCE00B99DAC5}" dt="2024-02-14T10:27:02.547" v="166" actId="478"/>
          <ac:picMkLst>
            <pc:docMk/>
            <pc:sldMk cId="1650431396" sldId="11838"/>
            <ac:picMk id="8" creationId="{99165B78-3D69-239B-F3D9-42859CF6C53B}"/>
          </ac:picMkLst>
        </pc:picChg>
        <pc:picChg chg="add mod">
          <ac:chgData name="Sadzida Vrana" userId="8c32c596-1b4d-4da4-b31a-f796641544b7" providerId="ADAL" clId="{96DAD605-1E9A-444A-9C67-BCE00B99DAC5}" dt="2024-02-14T10:27:11.910" v="170" actId="14100"/>
          <ac:picMkLst>
            <pc:docMk/>
            <pc:sldMk cId="1650431396" sldId="11838"/>
            <ac:picMk id="12" creationId="{E8DD50FB-E308-242F-5C2A-455B050AC808}"/>
          </ac:picMkLst>
        </pc:picChg>
      </pc:sldChg>
      <pc:sldChg chg="addSp modSp new del mod">
        <pc:chgData name="Sadzida Vrana" userId="8c32c596-1b4d-4da4-b31a-f796641544b7" providerId="ADAL" clId="{96DAD605-1E9A-444A-9C67-BCE00B99DAC5}" dt="2024-02-14T11:37:24.986" v="595" actId="2696"/>
        <pc:sldMkLst>
          <pc:docMk/>
          <pc:sldMk cId="3995747721" sldId="11839"/>
        </pc:sldMkLst>
        <pc:picChg chg="add mod">
          <ac:chgData name="Sadzida Vrana" userId="8c32c596-1b4d-4da4-b31a-f796641544b7" providerId="ADAL" clId="{96DAD605-1E9A-444A-9C67-BCE00B99DAC5}" dt="2024-02-14T10:37:56.853" v="351" actId="1076"/>
          <ac:picMkLst>
            <pc:docMk/>
            <pc:sldMk cId="3995747721" sldId="11839"/>
            <ac:picMk id="8" creationId="{6BA9D98D-D678-7CC9-08E1-9CB2D5BA1F77}"/>
          </ac:picMkLst>
        </pc:picChg>
      </pc:sldChg>
      <pc:sldChg chg="addSp delSp modSp new mod">
        <pc:chgData name="Sadzida Vrana" userId="8c32c596-1b4d-4da4-b31a-f796641544b7" providerId="ADAL" clId="{96DAD605-1E9A-444A-9C67-BCE00B99DAC5}" dt="2024-02-14T11:37:17.421" v="594" actId="5793"/>
        <pc:sldMkLst>
          <pc:docMk/>
          <pc:sldMk cId="4190903648" sldId="11840"/>
        </pc:sldMkLst>
        <pc:spChg chg="mod">
          <ac:chgData name="Sadzida Vrana" userId="8c32c596-1b4d-4da4-b31a-f796641544b7" providerId="ADAL" clId="{96DAD605-1E9A-444A-9C67-BCE00B99DAC5}" dt="2024-02-14T11:33:46.515" v="555" actId="20577"/>
          <ac:spMkLst>
            <pc:docMk/>
            <pc:sldMk cId="4190903648" sldId="11840"/>
            <ac:spMk id="2" creationId="{E6878A99-BC76-264E-2A18-12801E24A3CD}"/>
          </ac:spMkLst>
        </pc:spChg>
        <pc:spChg chg="del">
          <ac:chgData name="Sadzida Vrana" userId="8c32c596-1b4d-4da4-b31a-f796641544b7" providerId="ADAL" clId="{96DAD605-1E9A-444A-9C67-BCE00B99DAC5}" dt="2024-02-14T11:33:55.322" v="556"/>
          <ac:spMkLst>
            <pc:docMk/>
            <pc:sldMk cId="4190903648" sldId="11840"/>
            <ac:spMk id="3" creationId="{588ED3C0-013B-D69C-0FD9-35C1E7D15A3C}"/>
          </ac:spMkLst>
        </pc:spChg>
        <pc:spChg chg="del">
          <ac:chgData name="Sadzida Vrana" userId="8c32c596-1b4d-4da4-b31a-f796641544b7" providerId="ADAL" clId="{96DAD605-1E9A-444A-9C67-BCE00B99DAC5}" dt="2024-02-14T11:34:27.812" v="564" actId="21"/>
          <ac:spMkLst>
            <pc:docMk/>
            <pc:sldMk cId="4190903648" sldId="11840"/>
            <ac:spMk id="5" creationId="{1ACCD8C8-5AE6-E0FE-8FAA-4FBD4AFBBB4C}"/>
          </ac:spMkLst>
        </pc:spChg>
        <pc:spChg chg="del mod">
          <ac:chgData name="Sadzida Vrana" userId="8c32c596-1b4d-4da4-b31a-f796641544b7" providerId="ADAL" clId="{96DAD605-1E9A-444A-9C67-BCE00B99DAC5}" dt="2024-02-14T11:36:24.365" v="580" actId="21"/>
          <ac:spMkLst>
            <pc:docMk/>
            <pc:sldMk cId="4190903648" sldId="11840"/>
            <ac:spMk id="6" creationId="{EAC179D8-3DEA-65F0-90CB-C76044FE39CB}"/>
          </ac:spMkLst>
        </pc:spChg>
        <pc:spChg chg="mod">
          <ac:chgData name="Sadzida Vrana" userId="8c32c596-1b4d-4da4-b31a-f796641544b7" providerId="ADAL" clId="{96DAD605-1E9A-444A-9C67-BCE00B99DAC5}" dt="2024-02-14T11:37:17.421" v="594" actId="5793"/>
          <ac:spMkLst>
            <pc:docMk/>
            <pc:sldMk cId="4190903648" sldId="11840"/>
            <ac:spMk id="7" creationId="{299575EF-1A44-DBDC-AC4F-8D116953354F}"/>
          </ac:spMkLst>
        </pc:spChg>
        <pc:spChg chg="del">
          <ac:chgData name="Sadzida Vrana" userId="8c32c596-1b4d-4da4-b31a-f796641544b7" providerId="ADAL" clId="{96DAD605-1E9A-444A-9C67-BCE00B99DAC5}" dt="2024-02-14T11:33:57.700" v="557" actId="478"/>
          <ac:spMkLst>
            <pc:docMk/>
            <pc:sldMk cId="4190903648" sldId="11840"/>
            <ac:spMk id="8" creationId="{A3ADF3B5-E04F-C589-9845-A00E46A93C15}"/>
          </ac:spMkLst>
        </pc:spChg>
        <pc:spChg chg="del">
          <ac:chgData name="Sadzida Vrana" userId="8c32c596-1b4d-4da4-b31a-f796641544b7" providerId="ADAL" clId="{96DAD605-1E9A-444A-9C67-BCE00B99DAC5}" dt="2024-02-14T11:34:12.232" v="560" actId="478"/>
          <ac:spMkLst>
            <pc:docMk/>
            <pc:sldMk cId="4190903648" sldId="11840"/>
            <ac:spMk id="9" creationId="{4CEBBDFD-8455-E6FE-0417-55FB7F8E4705}"/>
          </ac:spMkLst>
        </pc:spChg>
        <pc:spChg chg="del">
          <ac:chgData name="Sadzida Vrana" userId="8c32c596-1b4d-4da4-b31a-f796641544b7" providerId="ADAL" clId="{96DAD605-1E9A-444A-9C67-BCE00B99DAC5}" dt="2024-02-14T11:34:20.372" v="562" actId="478"/>
          <ac:spMkLst>
            <pc:docMk/>
            <pc:sldMk cId="4190903648" sldId="11840"/>
            <ac:spMk id="10" creationId="{420FEF1B-C342-9A27-0E7C-0FC5EDED6E40}"/>
          </ac:spMkLst>
        </pc:spChg>
        <pc:spChg chg="del">
          <ac:chgData name="Sadzida Vrana" userId="8c32c596-1b4d-4da4-b31a-f796641544b7" providerId="ADAL" clId="{96DAD605-1E9A-444A-9C67-BCE00B99DAC5}" dt="2024-02-14T11:34:04.042" v="558" actId="21"/>
          <ac:spMkLst>
            <pc:docMk/>
            <pc:sldMk cId="4190903648" sldId="11840"/>
            <ac:spMk id="11" creationId="{E42B0322-45C8-E951-9917-9A412218C283}"/>
          </ac:spMkLst>
        </pc:spChg>
        <pc:spChg chg="del">
          <ac:chgData name="Sadzida Vrana" userId="8c32c596-1b4d-4da4-b31a-f796641544b7" providerId="ADAL" clId="{96DAD605-1E9A-444A-9C67-BCE00B99DAC5}" dt="2024-02-14T11:34:18.689" v="561" actId="21"/>
          <ac:spMkLst>
            <pc:docMk/>
            <pc:sldMk cId="4190903648" sldId="11840"/>
            <ac:spMk id="12" creationId="{D9EAD886-FCAD-A9E3-5F7D-179F273C0507}"/>
          </ac:spMkLst>
        </pc:spChg>
        <pc:spChg chg="del">
          <ac:chgData name="Sadzida Vrana" userId="8c32c596-1b4d-4da4-b31a-f796641544b7" providerId="ADAL" clId="{96DAD605-1E9A-444A-9C67-BCE00B99DAC5}" dt="2024-02-14T11:34:23.956" v="563" actId="21"/>
          <ac:spMkLst>
            <pc:docMk/>
            <pc:sldMk cId="4190903648" sldId="11840"/>
            <ac:spMk id="13" creationId="{1C61CBFC-781D-F4CE-6C26-F0ECF58E2383}"/>
          </ac:spMkLst>
        </pc:spChg>
        <pc:spChg chg="del">
          <ac:chgData name="Sadzida Vrana" userId="8c32c596-1b4d-4da4-b31a-f796641544b7" providerId="ADAL" clId="{96DAD605-1E9A-444A-9C67-BCE00B99DAC5}" dt="2024-02-14T11:34:41.780" v="570" actId="21"/>
          <ac:spMkLst>
            <pc:docMk/>
            <pc:sldMk cId="4190903648" sldId="11840"/>
            <ac:spMk id="15" creationId="{0AE23139-E9A4-DCBC-39DC-8F3D2BBD0E80}"/>
          </ac:spMkLst>
        </pc:spChg>
        <pc:spChg chg="add del mod">
          <ac:chgData name="Sadzida Vrana" userId="8c32c596-1b4d-4da4-b31a-f796641544b7" providerId="ADAL" clId="{96DAD605-1E9A-444A-9C67-BCE00B99DAC5}" dt="2024-02-14T11:36:34.180" v="582" actId="21"/>
          <ac:spMkLst>
            <pc:docMk/>
            <pc:sldMk cId="4190903648" sldId="11840"/>
            <ac:spMk id="18" creationId="{746C1FB0-1BEF-E386-FB6E-F0D92E500F25}"/>
          </ac:spMkLst>
        </pc:spChg>
        <pc:picChg chg="add mod">
          <ac:chgData name="Sadzida Vrana" userId="8c32c596-1b4d-4da4-b31a-f796641544b7" providerId="ADAL" clId="{96DAD605-1E9A-444A-9C67-BCE00B99DAC5}" dt="2024-02-14T11:34:50.057" v="573" actId="1076"/>
          <ac:picMkLst>
            <pc:docMk/>
            <pc:sldMk cId="4190903648" sldId="11840"/>
            <ac:picMk id="16" creationId="{D4554BBA-FD9E-025B-23EE-082F8E613DDF}"/>
          </ac:picMkLst>
        </pc:picChg>
      </pc:sldChg>
      <pc:sldChg chg="addSp modSp new mod">
        <pc:chgData name="Sadzida Vrana" userId="8c32c596-1b4d-4da4-b31a-f796641544b7" providerId="ADAL" clId="{96DAD605-1E9A-444A-9C67-BCE00B99DAC5}" dt="2024-02-14T10:42:49.771" v="490" actId="114"/>
        <pc:sldMkLst>
          <pc:docMk/>
          <pc:sldMk cId="3197931968" sldId="11841"/>
        </pc:sldMkLst>
        <pc:spChg chg="add mod">
          <ac:chgData name="Sadzida Vrana" userId="8c32c596-1b4d-4da4-b31a-f796641544b7" providerId="ADAL" clId="{96DAD605-1E9A-444A-9C67-BCE00B99DAC5}" dt="2024-02-14T10:42:49.771" v="490" actId="114"/>
          <ac:spMkLst>
            <pc:docMk/>
            <pc:sldMk cId="3197931968" sldId="11841"/>
            <ac:spMk id="7" creationId="{EFD6BFDA-6F3F-CE6D-7E06-0952C9C2055F}"/>
          </ac:spMkLst>
        </pc:spChg>
        <pc:picChg chg="add mod">
          <ac:chgData name="Sadzida Vrana" userId="8c32c596-1b4d-4da4-b31a-f796641544b7" providerId="ADAL" clId="{96DAD605-1E9A-444A-9C67-BCE00B99DAC5}" dt="2024-02-14T10:40:56.631" v="357" actId="14100"/>
          <ac:picMkLst>
            <pc:docMk/>
            <pc:sldMk cId="3197931968" sldId="11841"/>
            <ac:picMk id="5" creationId="{568DC4F7-B7A4-D189-FC5C-F44C34F4400B}"/>
          </ac:picMkLst>
        </pc:picChg>
        <pc:picChg chg="add">
          <ac:chgData name="Sadzida Vrana" userId="8c32c596-1b4d-4da4-b31a-f796641544b7" providerId="ADAL" clId="{96DAD605-1E9A-444A-9C67-BCE00B99DAC5}" dt="2024-02-14T10:41:14.929" v="360"/>
          <ac:picMkLst>
            <pc:docMk/>
            <pc:sldMk cId="3197931968" sldId="11841"/>
            <ac:picMk id="6" creationId="{B5DF7F12-68AE-5808-67D3-11E77148B711}"/>
          </ac:picMkLst>
        </pc:picChg>
      </pc:sldChg>
      <pc:sldChg chg="addSp modSp new mod">
        <pc:chgData name="Sadzida Vrana" userId="8c32c596-1b4d-4da4-b31a-f796641544b7" providerId="ADAL" clId="{96DAD605-1E9A-444A-9C67-BCE00B99DAC5}" dt="2024-02-14T10:48:06.837" v="528" actId="1076"/>
        <pc:sldMkLst>
          <pc:docMk/>
          <pc:sldMk cId="215511285" sldId="11842"/>
        </pc:sldMkLst>
        <pc:spChg chg="add mod">
          <ac:chgData name="Sadzida Vrana" userId="8c32c596-1b4d-4da4-b31a-f796641544b7" providerId="ADAL" clId="{96DAD605-1E9A-444A-9C67-BCE00B99DAC5}" dt="2024-02-14T10:48:06.837" v="528" actId="1076"/>
          <ac:spMkLst>
            <pc:docMk/>
            <pc:sldMk cId="215511285" sldId="11842"/>
            <ac:spMk id="6" creationId="{1E48F6D6-51B8-DAF9-A0B1-D7F99412AED5}"/>
          </ac:spMkLst>
        </pc:spChg>
        <pc:spChg chg="add mod">
          <ac:chgData name="Sadzida Vrana" userId="8c32c596-1b4d-4da4-b31a-f796641544b7" providerId="ADAL" clId="{96DAD605-1E9A-444A-9C67-BCE00B99DAC5}" dt="2024-02-14T10:47:52.174" v="527" actId="20577"/>
          <ac:spMkLst>
            <pc:docMk/>
            <pc:sldMk cId="215511285" sldId="11842"/>
            <ac:spMk id="8" creationId="{92A2F30A-F07C-B9F6-69BC-8400685C396A}"/>
          </ac:spMkLst>
        </pc:spChg>
        <pc:picChg chg="add mod">
          <ac:chgData name="Sadzida Vrana" userId="8c32c596-1b4d-4da4-b31a-f796641544b7" providerId="ADAL" clId="{96DAD605-1E9A-444A-9C67-BCE00B99DAC5}" dt="2024-02-14T10:46:32.271" v="494" actId="14100"/>
          <ac:picMkLst>
            <pc:docMk/>
            <pc:sldMk cId="215511285" sldId="11842"/>
            <ac:picMk id="5" creationId="{8EB98B86-69D1-3662-1CF5-EF704DCDC125}"/>
          </ac:picMkLst>
        </pc:picChg>
      </pc:sldChg>
      <pc:sldChg chg="addSp delSp modSp new mod">
        <pc:chgData name="Sadzida Vrana" userId="8c32c596-1b4d-4da4-b31a-f796641544b7" providerId="ADAL" clId="{96DAD605-1E9A-444A-9C67-BCE00B99DAC5}" dt="2024-02-14T11:51:03.224" v="1028" actId="1076"/>
        <pc:sldMkLst>
          <pc:docMk/>
          <pc:sldMk cId="296205890" sldId="11843"/>
        </pc:sldMkLst>
        <pc:spChg chg="mod">
          <ac:chgData name="Sadzida Vrana" userId="8c32c596-1b4d-4da4-b31a-f796641544b7" providerId="ADAL" clId="{96DAD605-1E9A-444A-9C67-BCE00B99DAC5}" dt="2024-02-14T11:45:56.712" v="763" actId="20577"/>
          <ac:spMkLst>
            <pc:docMk/>
            <pc:sldMk cId="296205890" sldId="11843"/>
            <ac:spMk id="2" creationId="{2B42F606-19FE-1748-EE0E-F48459C88C7D}"/>
          </ac:spMkLst>
        </pc:spChg>
        <pc:spChg chg="del">
          <ac:chgData name="Sadzida Vrana" userId="8c32c596-1b4d-4da4-b31a-f796641544b7" providerId="ADAL" clId="{96DAD605-1E9A-444A-9C67-BCE00B99DAC5}" dt="2024-02-14T11:40:22.033" v="597" actId="22"/>
          <ac:spMkLst>
            <pc:docMk/>
            <pc:sldMk cId="296205890" sldId="11843"/>
            <ac:spMk id="3" creationId="{391A6F1F-EA0C-9931-D943-0A82010D0FF3}"/>
          </ac:spMkLst>
        </pc:spChg>
        <pc:spChg chg="add mod">
          <ac:chgData name="Sadzida Vrana" userId="8c32c596-1b4d-4da4-b31a-f796641544b7" providerId="ADAL" clId="{96DAD605-1E9A-444A-9C67-BCE00B99DAC5}" dt="2024-02-14T11:42:58.703" v="643" actId="20577"/>
          <ac:spMkLst>
            <pc:docMk/>
            <pc:sldMk cId="296205890" sldId="11843"/>
            <ac:spMk id="8" creationId="{5FCABCE9-AFFA-17B2-2696-34251D8E261B}"/>
          </ac:spMkLst>
        </pc:spChg>
        <pc:spChg chg="add mod">
          <ac:chgData name="Sadzida Vrana" userId="8c32c596-1b4d-4da4-b31a-f796641544b7" providerId="ADAL" clId="{96DAD605-1E9A-444A-9C67-BCE00B99DAC5}" dt="2024-02-14T11:46:05.165" v="764" actId="12"/>
          <ac:spMkLst>
            <pc:docMk/>
            <pc:sldMk cId="296205890" sldId="11843"/>
            <ac:spMk id="10" creationId="{311C007F-A77A-2420-2606-713E1117E520}"/>
          </ac:spMkLst>
        </pc:spChg>
        <pc:spChg chg="add mod">
          <ac:chgData name="Sadzida Vrana" userId="8c32c596-1b4d-4da4-b31a-f796641544b7" providerId="ADAL" clId="{96DAD605-1E9A-444A-9C67-BCE00B99DAC5}" dt="2024-02-14T11:50:59.830" v="1027" actId="1076"/>
          <ac:spMkLst>
            <pc:docMk/>
            <pc:sldMk cId="296205890" sldId="11843"/>
            <ac:spMk id="11" creationId="{CEA8F3D3-35FC-ABC9-A551-8E94F14ADDAA}"/>
          </ac:spMkLst>
        </pc:spChg>
        <pc:picChg chg="add mod ord">
          <ac:chgData name="Sadzida Vrana" userId="8c32c596-1b4d-4da4-b31a-f796641544b7" providerId="ADAL" clId="{96DAD605-1E9A-444A-9C67-BCE00B99DAC5}" dt="2024-02-14T11:51:03.224" v="1028" actId="1076"/>
          <ac:picMkLst>
            <pc:docMk/>
            <pc:sldMk cId="296205890" sldId="11843"/>
            <ac:picMk id="7" creationId="{98428FA9-898D-96CC-2DD9-28A94D5E2CD5}"/>
          </ac:picMkLst>
        </pc:picChg>
      </pc:sldChg>
      <pc:sldChg chg="modSp add mod ord">
        <pc:chgData name="Sadzida Vrana" userId="8c32c596-1b4d-4da4-b31a-f796641544b7" providerId="ADAL" clId="{96DAD605-1E9A-444A-9C67-BCE00B99DAC5}" dt="2024-02-14T11:48:36.505" v="917" actId="20577"/>
        <pc:sldMkLst>
          <pc:docMk/>
          <pc:sldMk cId="367668850" sldId="11844"/>
        </pc:sldMkLst>
        <pc:spChg chg="mod">
          <ac:chgData name="Sadzida Vrana" userId="8c32c596-1b4d-4da4-b31a-f796641544b7" providerId="ADAL" clId="{96DAD605-1E9A-444A-9C67-BCE00B99DAC5}" dt="2024-02-14T11:48:23.952" v="855" actId="20577"/>
          <ac:spMkLst>
            <pc:docMk/>
            <pc:sldMk cId="367668850" sldId="11844"/>
            <ac:spMk id="6" creationId="{3CBEE844-16E2-4CDB-9D73-314FFFDC3E64}"/>
          </ac:spMkLst>
        </pc:spChg>
        <pc:spChg chg="mod">
          <ac:chgData name="Sadzida Vrana" userId="8c32c596-1b4d-4da4-b31a-f796641544b7" providerId="ADAL" clId="{96DAD605-1E9A-444A-9C67-BCE00B99DAC5}" dt="2024-02-14T11:48:36.505" v="917" actId="20577"/>
          <ac:spMkLst>
            <pc:docMk/>
            <pc:sldMk cId="367668850" sldId="11844"/>
            <ac:spMk id="10" creationId="{6089B662-5E93-4987-80DB-AC06B9395210}"/>
          </ac:spMkLst>
        </pc:spChg>
      </pc:sldChg>
      <pc:sldChg chg="modSp add mod ord">
        <pc:chgData name="Sadzida Vrana" userId="8c32c596-1b4d-4da4-b31a-f796641544b7" providerId="ADAL" clId="{96DAD605-1E9A-444A-9C67-BCE00B99DAC5}" dt="2024-02-14T11:49:55.770" v="991" actId="20577"/>
        <pc:sldMkLst>
          <pc:docMk/>
          <pc:sldMk cId="2055950001" sldId="11845"/>
        </pc:sldMkLst>
        <pc:spChg chg="mod">
          <ac:chgData name="Sadzida Vrana" userId="8c32c596-1b4d-4da4-b31a-f796641544b7" providerId="ADAL" clId="{96DAD605-1E9A-444A-9C67-BCE00B99DAC5}" dt="2024-02-14T11:49:48.450" v="964" actId="20577"/>
          <ac:spMkLst>
            <pc:docMk/>
            <pc:sldMk cId="2055950001" sldId="11845"/>
            <ac:spMk id="6" creationId="{3CBEE844-16E2-4CDB-9D73-314FFFDC3E64}"/>
          </ac:spMkLst>
        </pc:spChg>
        <pc:spChg chg="mod">
          <ac:chgData name="Sadzida Vrana" userId="8c32c596-1b4d-4da4-b31a-f796641544b7" providerId="ADAL" clId="{96DAD605-1E9A-444A-9C67-BCE00B99DAC5}" dt="2024-02-14T11:49:55.770" v="991" actId="20577"/>
          <ac:spMkLst>
            <pc:docMk/>
            <pc:sldMk cId="2055950001" sldId="11845"/>
            <ac:spMk id="10" creationId="{6089B662-5E93-4987-80DB-AC06B9395210}"/>
          </ac:spMkLst>
        </pc:spChg>
      </pc:sldChg>
      <pc:sldChg chg="modSp add mod ord">
        <pc:chgData name="Sadzida Vrana" userId="8c32c596-1b4d-4da4-b31a-f796641544b7" providerId="ADAL" clId="{96DAD605-1E9A-444A-9C67-BCE00B99DAC5}" dt="2024-02-14T11:51:20.867" v="1049" actId="20577"/>
        <pc:sldMkLst>
          <pc:docMk/>
          <pc:sldMk cId="535734560" sldId="11846"/>
        </pc:sldMkLst>
        <pc:spChg chg="mod">
          <ac:chgData name="Sadzida Vrana" userId="8c32c596-1b4d-4da4-b31a-f796641544b7" providerId="ADAL" clId="{96DAD605-1E9A-444A-9C67-BCE00B99DAC5}" dt="2024-02-14T11:51:12.516" v="1030" actId="20577"/>
          <ac:spMkLst>
            <pc:docMk/>
            <pc:sldMk cId="535734560" sldId="11846"/>
            <ac:spMk id="6" creationId="{3CBEE844-16E2-4CDB-9D73-314FFFDC3E64}"/>
          </ac:spMkLst>
        </pc:spChg>
        <pc:spChg chg="mod">
          <ac:chgData name="Sadzida Vrana" userId="8c32c596-1b4d-4da4-b31a-f796641544b7" providerId="ADAL" clId="{96DAD605-1E9A-444A-9C67-BCE00B99DAC5}" dt="2024-02-14T11:51:20.867" v="1049" actId="20577"/>
          <ac:spMkLst>
            <pc:docMk/>
            <pc:sldMk cId="535734560" sldId="11846"/>
            <ac:spMk id="10" creationId="{6089B662-5E93-4987-80DB-AC06B9395210}"/>
          </ac:spMkLst>
        </pc:spChg>
      </pc:sldChg>
    </pc:docChg>
  </pc:docChgLst>
  <pc:docChgLst>
    <pc:chgData name="Sadzida Vrana" userId="S::sadzida.vrana@baywa-re.com::8c32c596-1b4d-4da4-b31a-f796641544b7" providerId="AD" clId="Web-{C0A60190-F254-1BE4-7CA8-73D2EDA081F1}"/>
    <pc:docChg chg="modSld">
      <pc:chgData name="Sadzida Vrana" userId="S::sadzida.vrana@baywa-re.com::8c32c596-1b4d-4da4-b31a-f796641544b7" providerId="AD" clId="Web-{C0A60190-F254-1BE4-7CA8-73D2EDA081F1}" dt="2024-02-15T08:20:05.795" v="0" actId="14100"/>
      <pc:docMkLst>
        <pc:docMk/>
      </pc:docMkLst>
      <pc:sldChg chg="modSp">
        <pc:chgData name="Sadzida Vrana" userId="S::sadzida.vrana@baywa-re.com::8c32c596-1b4d-4da4-b31a-f796641544b7" providerId="AD" clId="Web-{C0A60190-F254-1BE4-7CA8-73D2EDA081F1}" dt="2024-02-15T08:20:05.795" v="0" actId="14100"/>
        <pc:sldMkLst>
          <pc:docMk/>
          <pc:sldMk cId="744096859" sldId="4348"/>
        </pc:sldMkLst>
        <pc:spChg chg="mod">
          <ac:chgData name="Sadzida Vrana" userId="S::sadzida.vrana@baywa-re.com::8c32c596-1b4d-4da4-b31a-f796641544b7" providerId="AD" clId="Web-{C0A60190-F254-1BE4-7CA8-73D2EDA081F1}" dt="2024-02-15T08:20:05.795" v="0" actId="14100"/>
          <ac:spMkLst>
            <pc:docMk/>
            <pc:sldMk cId="744096859" sldId="4348"/>
            <ac:spMk id="25" creationId="{7BAAB36F-B277-4DF0-90DE-DECB04F99E76}"/>
          </ac:spMkLst>
        </pc:spChg>
      </pc:sldChg>
    </pc:docChg>
  </pc:docChgLst>
  <pc:docChgLst>
    <pc:chgData name="Gabriella Nilsson" userId="S::gabriella.nilsson@baywa-re.com::53371305-b4ff-48fc-aced-0e2162e247c3" providerId="AD" clId="Web-{7CDE2156-AC88-69DD-C7D6-F91B7B07227B}"/>
    <pc:docChg chg="delSld modSld modSection">
      <pc:chgData name="Gabriella Nilsson" userId="S::gabriella.nilsson@baywa-re.com::53371305-b4ff-48fc-aced-0e2162e247c3" providerId="AD" clId="Web-{7CDE2156-AC88-69DD-C7D6-F91B7B07227B}" dt="2024-02-22T15:59:56.573" v="50" actId="1076"/>
      <pc:docMkLst>
        <pc:docMk/>
      </pc:docMkLst>
      <pc:sldChg chg="addSp delSp modSp">
        <pc:chgData name="Gabriella Nilsson" userId="S::gabriella.nilsson@baywa-re.com::53371305-b4ff-48fc-aced-0e2162e247c3" providerId="AD" clId="Web-{7CDE2156-AC88-69DD-C7D6-F91B7B07227B}" dt="2024-02-22T15:48:08.090" v="42" actId="14100"/>
        <pc:sldMkLst>
          <pc:docMk/>
          <pc:sldMk cId="193742719" sldId="11823"/>
        </pc:sldMkLst>
        <pc:spChg chg="mod">
          <ac:chgData name="Gabriella Nilsson" userId="S::gabriella.nilsson@baywa-re.com::53371305-b4ff-48fc-aced-0e2162e247c3" providerId="AD" clId="Web-{7CDE2156-AC88-69DD-C7D6-F91B7B07227B}" dt="2024-02-22T15:39:45.533" v="37" actId="20577"/>
          <ac:spMkLst>
            <pc:docMk/>
            <pc:sldMk cId="193742719" sldId="11823"/>
            <ac:spMk id="6" creationId="{B81E1E31-D7EE-4E76-A2F8-A502C1DEB6F6}"/>
          </ac:spMkLst>
        </pc:spChg>
        <pc:picChg chg="add mod">
          <ac:chgData name="Gabriella Nilsson" userId="S::gabriella.nilsson@baywa-re.com::53371305-b4ff-48fc-aced-0e2162e247c3" providerId="AD" clId="Web-{7CDE2156-AC88-69DD-C7D6-F91B7B07227B}" dt="2024-02-22T15:48:08.090" v="42" actId="14100"/>
          <ac:picMkLst>
            <pc:docMk/>
            <pc:sldMk cId="193742719" sldId="11823"/>
            <ac:picMk id="5" creationId="{F4B6ECDC-4D63-3AC9-0187-E3763D424E21}"/>
          </ac:picMkLst>
        </pc:picChg>
        <pc:picChg chg="del">
          <ac:chgData name="Gabriella Nilsson" userId="S::gabriella.nilsson@baywa-re.com::53371305-b4ff-48fc-aced-0e2162e247c3" providerId="AD" clId="Web-{7CDE2156-AC88-69DD-C7D6-F91B7B07227B}" dt="2024-02-22T15:47:53.637" v="38"/>
          <ac:picMkLst>
            <pc:docMk/>
            <pc:sldMk cId="193742719" sldId="11823"/>
            <ac:picMk id="8" creationId="{92A3C0AB-3C04-28C1-5334-BCDA8F66E637}"/>
          </ac:picMkLst>
        </pc:picChg>
      </pc:sldChg>
      <pc:sldChg chg="addSp delSp modSp">
        <pc:chgData name="Gabriella Nilsson" userId="S::gabriella.nilsson@baywa-re.com::53371305-b4ff-48fc-aced-0e2162e247c3" providerId="AD" clId="Web-{7CDE2156-AC88-69DD-C7D6-F91B7B07227B}" dt="2024-02-22T15:59:56.573" v="50" actId="1076"/>
        <pc:sldMkLst>
          <pc:docMk/>
          <pc:sldMk cId="4283948165" sldId="11830"/>
        </pc:sldMkLst>
        <pc:spChg chg="add del mod">
          <ac:chgData name="Gabriella Nilsson" userId="S::gabriella.nilsson@baywa-re.com::53371305-b4ff-48fc-aced-0e2162e247c3" providerId="AD" clId="Web-{7CDE2156-AC88-69DD-C7D6-F91B7B07227B}" dt="2024-02-22T15:59:08.947" v="45"/>
          <ac:spMkLst>
            <pc:docMk/>
            <pc:sldMk cId="4283948165" sldId="11830"/>
            <ac:spMk id="6" creationId="{2020963F-8104-16E5-5BD8-7690A36AF516}"/>
          </ac:spMkLst>
        </pc:spChg>
        <pc:picChg chg="del">
          <ac:chgData name="Gabriella Nilsson" userId="S::gabriella.nilsson@baywa-re.com::53371305-b4ff-48fc-aced-0e2162e247c3" providerId="AD" clId="Web-{7CDE2156-AC88-69DD-C7D6-F91B7B07227B}" dt="2024-02-22T15:59:04.322" v="44"/>
          <ac:picMkLst>
            <pc:docMk/>
            <pc:sldMk cId="4283948165" sldId="11830"/>
            <ac:picMk id="7" creationId="{D096B1F2-CB31-ADF0-141C-CCD8C1C92168}"/>
          </ac:picMkLst>
        </pc:picChg>
        <pc:picChg chg="add mod ord">
          <ac:chgData name="Gabriella Nilsson" userId="S::gabriella.nilsson@baywa-re.com::53371305-b4ff-48fc-aced-0e2162e247c3" providerId="AD" clId="Web-{7CDE2156-AC88-69DD-C7D6-F91B7B07227B}" dt="2024-02-22T15:59:56.573" v="50" actId="1076"/>
          <ac:picMkLst>
            <pc:docMk/>
            <pc:sldMk cId="4283948165" sldId="11830"/>
            <ac:picMk id="9" creationId="{4F9BA37B-42B2-86C2-765D-EE827C115DE1}"/>
          </ac:picMkLst>
        </pc:picChg>
      </pc:sldChg>
      <pc:sldChg chg="del">
        <pc:chgData name="Gabriella Nilsson" userId="S::gabriella.nilsson@baywa-re.com::53371305-b4ff-48fc-aced-0e2162e247c3" providerId="AD" clId="Web-{7CDE2156-AC88-69DD-C7D6-F91B7B07227B}" dt="2024-02-22T15:48:24.669" v="43"/>
        <pc:sldMkLst>
          <pc:docMk/>
          <pc:sldMk cId="564834492" sldId="11834"/>
        </pc:sldMkLst>
      </pc:sldChg>
    </pc:docChg>
  </pc:docChgLst>
  <pc:docChgLst>
    <pc:chgData name="Sadzida Vrana" userId="S::sadzida.vrana@baywa-re.com::8c32c596-1b4d-4da4-b31a-f796641544b7" providerId="AD" clId="Web-{AE614CCD-C397-44FE-79DC-7BAF1AA1F227}"/>
    <pc:docChg chg="addSld delSld modSld modSection">
      <pc:chgData name="Sadzida Vrana" userId="S::sadzida.vrana@baywa-re.com::8c32c596-1b4d-4da4-b31a-f796641544b7" providerId="AD" clId="Web-{AE614CCD-C397-44FE-79DC-7BAF1AA1F227}" dt="2024-02-16T17:52:02.424" v="234"/>
      <pc:docMkLst>
        <pc:docMk/>
      </pc:docMkLst>
      <pc:sldChg chg="modSp delCm modCm modNotes">
        <pc:chgData name="Sadzida Vrana" userId="S::sadzida.vrana@baywa-re.com::8c32c596-1b4d-4da4-b31a-f796641544b7" providerId="AD" clId="Web-{AE614CCD-C397-44FE-79DC-7BAF1AA1F227}" dt="2024-02-16T15:34:17.329" v="154"/>
        <pc:sldMkLst>
          <pc:docMk/>
          <pc:sldMk cId="3115884079" sldId="11756"/>
        </pc:sldMkLst>
        <pc:spChg chg="mod">
          <ac:chgData name="Sadzida Vrana" userId="S::sadzida.vrana@baywa-re.com::8c32c596-1b4d-4da4-b31a-f796641544b7" providerId="AD" clId="Web-{AE614CCD-C397-44FE-79DC-7BAF1AA1F227}" dt="2024-02-16T11:58:17.264" v="43" actId="20577"/>
          <ac:spMkLst>
            <pc:docMk/>
            <pc:sldMk cId="3115884079" sldId="11756"/>
            <ac:spMk id="3" creationId="{840D1772-98AD-D71E-7E58-05F1A917BFA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Sadzida Vrana" userId="S::sadzida.vrana@baywa-re.com::8c32c596-1b4d-4da4-b31a-f796641544b7" providerId="AD" clId="Web-{AE614CCD-C397-44FE-79DC-7BAF1AA1F227}" dt="2024-02-16T11:58:21.780" v="44"/>
              <pc2:cmMkLst xmlns:pc2="http://schemas.microsoft.com/office/powerpoint/2019/9/main/command">
                <pc:docMk/>
                <pc:sldMk cId="3115884079" sldId="11756"/>
                <pc2:cmMk id="{84E71C97-5301-48CA-8A04-FB2CF352B285}"/>
              </pc2:cmMkLst>
            </pc226:cmChg>
          </p:ext>
        </pc:extLst>
      </pc:sldChg>
      <pc:sldChg chg="delSp modSp delCm">
        <pc:chgData name="Sadzida Vrana" userId="S::sadzida.vrana@baywa-re.com::8c32c596-1b4d-4da4-b31a-f796641544b7" providerId="AD" clId="Web-{AE614CCD-C397-44FE-79DC-7BAF1AA1F227}" dt="2024-02-16T14:42:28.360" v="148" actId="20577"/>
        <pc:sldMkLst>
          <pc:docMk/>
          <pc:sldMk cId="3640258465" sldId="11824"/>
        </pc:sldMkLst>
        <pc:spChg chg="del">
          <ac:chgData name="Sadzida Vrana" userId="S::sadzida.vrana@baywa-re.com::8c32c596-1b4d-4da4-b31a-f796641544b7" providerId="AD" clId="Web-{AE614CCD-C397-44FE-79DC-7BAF1AA1F227}" dt="2024-02-16T11:55:50.061" v="1"/>
          <ac:spMkLst>
            <pc:docMk/>
            <pc:sldMk cId="3640258465" sldId="11824"/>
            <ac:spMk id="5" creationId="{65C5CC32-4F56-2DD6-7526-D0E00D9FE0F6}"/>
          </ac:spMkLst>
        </pc:spChg>
        <pc:spChg chg="mod">
          <ac:chgData name="Sadzida Vrana" userId="S::sadzida.vrana@baywa-re.com::8c32c596-1b4d-4da4-b31a-f796641544b7" providerId="AD" clId="Web-{AE614CCD-C397-44FE-79DC-7BAF1AA1F227}" dt="2024-02-16T14:42:28.360" v="148" actId="20577"/>
          <ac:spMkLst>
            <pc:docMk/>
            <pc:sldMk cId="3640258465" sldId="11824"/>
            <ac:spMk id="8" creationId="{7E794ED0-D523-0257-0B07-A269246C0D91}"/>
          </ac:spMkLst>
        </pc:spChg>
        <pc:picChg chg="mod">
          <ac:chgData name="Sadzida Vrana" userId="S::sadzida.vrana@baywa-re.com::8c32c596-1b4d-4da4-b31a-f796641544b7" providerId="AD" clId="Web-{AE614CCD-C397-44FE-79DC-7BAF1AA1F227}" dt="2024-02-16T11:55:56.171" v="4" actId="1076"/>
          <ac:picMkLst>
            <pc:docMk/>
            <pc:sldMk cId="3640258465" sldId="11824"/>
            <ac:picMk id="1026" creationId="{1DEBEE97-C767-FB4B-14BB-44DA2B900AFC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Sadzida Vrana" userId="S::sadzida.vrana@baywa-re.com::8c32c596-1b4d-4da4-b31a-f796641544b7" providerId="AD" clId="Web-{AE614CCD-C397-44FE-79DC-7BAF1AA1F227}" dt="2024-02-16T11:55:46.374" v="0"/>
              <pc2:cmMkLst xmlns:pc2="http://schemas.microsoft.com/office/powerpoint/2019/9/main/command">
                <pc:docMk/>
                <pc:sldMk cId="3640258465" sldId="11824"/>
                <pc2:cmMk id="{7A903691-EEFE-4810-8FA9-191208E9892D}"/>
              </pc2:cmMkLst>
            </pc226:cmChg>
          </p:ext>
        </pc:extLst>
      </pc:sldChg>
      <pc:sldChg chg="modNotes">
        <pc:chgData name="Sadzida Vrana" userId="S::sadzida.vrana@baywa-re.com::8c32c596-1b4d-4da4-b31a-f796641544b7" providerId="AD" clId="Web-{AE614CCD-C397-44FE-79DC-7BAF1AA1F227}" dt="2024-02-16T15:34:48.534" v="174"/>
        <pc:sldMkLst>
          <pc:docMk/>
          <pc:sldMk cId="442533751" sldId="11825"/>
        </pc:sldMkLst>
      </pc:sldChg>
      <pc:sldChg chg="modSp modNotes">
        <pc:chgData name="Sadzida Vrana" userId="S::sadzida.vrana@baywa-re.com::8c32c596-1b4d-4da4-b31a-f796641544b7" providerId="AD" clId="Web-{AE614CCD-C397-44FE-79DC-7BAF1AA1F227}" dt="2024-02-16T15:35:31.441" v="194" actId="20577"/>
        <pc:sldMkLst>
          <pc:docMk/>
          <pc:sldMk cId="2003413771" sldId="11828"/>
        </pc:sldMkLst>
        <pc:spChg chg="mod">
          <ac:chgData name="Sadzida Vrana" userId="S::sadzida.vrana@baywa-re.com::8c32c596-1b4d-4da4-b31a-f796641544b7" providerId="AD" clId="Web-{AE614CCD-C397-44FE-79DC-7BAF1AA1F227}" dt="2024-02-16T15:35:31.441" v="194" actId="20577"/>
          <ac:spMkLst>
            <pc:docMk/>
            <pc:sldMk cId="2003413771" sldId="11828"/>
            <ac:spMk id="2" creationId="{50C2F3D1-101E-BB99-3C2D-81A72C2ACF39}"/>
          </ac:spMkLst>
        </pc:spChg>
        <pc:picChg chg="mod">
          <ac:chgData name="Sadzida Vrana" userId="S::sadzida.vrana@baywa-re.com::8c32c596-1b4d-4da4-b31a-f796641544b7" providerId="AD" clId="Web-{AE614CCD-C397-44FE-79DC-7BAF1AA1F227}" dt="2024-02-16T12:00:59.577" v="47" actId="14100"/>
          <ac:picMkLst>
            <pc:docMk/>
            <pc:sldMk cId="2003413771" sldId="11828"/>
            <ac:picMk id="10" creationId="{A8F0AD4C-3FF0-A36B-2FD5-638D313E2F93}"/>
          </ac:picMkLst>
        </pc:picChg>
      </pc:sldChg>
      <pc:sldChg chg="modNotes">
        <pc:chgData name="Sadzida Vrana" userId="S::sadzida.vrana@baywa-re.com::8c32c596-1b4d-4da4-b31a-f796641544b7" providerId="AD" clId="Web-{AE614CCD-C397-44FE-79DC-7BAF1AA1F227}" dt="2024-02-16T11:59:37.780" v="46"/>
        <pc:sldMkLst>
          <pc:docMk/>
          <pc:sldMk cId="1255473241" sldId="11829"/>
        </pc:sldMkLst>
      </pc:sldChg>
      <pc:sldChg chg="modSp">
        <pc:chgData name="Sadzida Vrana" userId="S::sadzida.vrana@baywa-re.com::8c32c596-1b4d-4da4-b31a-f796641544b7" providerId="AD" clId="Web-{AE614CCD-C397-44FE-79DC-7BAF1AA1F227}" dt="2024-02-16T12:42:27.559" v="128" actId="20577"/>
        <pc:sldMkLst>
          <pc:docMk/>
          <pc:sldMk cId="4283948165" sldId="11830"/>
        </pc:sldMkLst>
        <pc:spChg chg="mod">
          <ac:chgData name="Sadzida Vrana" userId="S::sadzida.vrana@baywa-re.com::8c32c596-1b4d-4da4-b31a-f796641544b7" providerId="AD" clId="Web-{AE614CCD-C397-44FE-79DC-7BAF1AA1F227}" dt="2024-02-16T12:42:27.559" v="128" actId="20577"/>
          <ac:spMkLst>
            <pc:docMk/>
            <pc:sldMk cId="4283948165" sldId="11830"/>
            <ac:spMk id="8" creationId="{12CB2B05-6D94-1E05-4EBF-5A5895EE28DF}"/>
          </ac:spMkLst>
        </pc:spChg>
      </pc:sldChg>
      <pc:sldChg chg="modSp">
        <pc:chgData name="Sadzida Vrana" userId="S::sadzida.vrana@baywa-re.com::8c32c596-1b4d-4da4-b31a-f796641544b7" providerId="AD" clId="Web-{AE614CCD-C397-44FE-79DC-7BAF1AA1F227}" dt="2024-02-16T15:01:18.665" v="150" actId="20577"/>
        <pc:sldMkLst>
          <pc:docMk/>
          <pc:sldMk cId="539130889" sldId="11831"/>
        </pc:sldMkLst>
        <pc:spChg chg="mod">
          <ac:chgData name="Sadzida Vrana" userId="S::sadzida.vrana@baywa-re.com::8c32c596-1b4d-4da4-b31a-f796641544b7" providerId="AD" clId="Web-{AE614CCD-C397-44FE-79DC-7BAF1AA1F227}" dt="2024-02-16T15:01:18.665" v="150" actId="20577"/>
          <ac:spMkLst>
            <pc:docMk/>
            <pc:sldMk cId="539130889" sldId="11831"/>
            <ac:spMk id="17" creationId="{7C53F789-0DAE-F2D8-D131-08FE6BCB47BE}"/>
          </ac:spMkLst>
        </pc:spChg>
      </pc:sldChg>
      <pc:sldChg chg="modNotes">
        <pc:chgData name="Sadzida Vrana" userId="S::sadzida.vrana@baywa-re.com::8c32c596-1b4d-4da4-b31a-f796641544b7" providerId="AD" clId="Web-{AE614CCD-C397-44FE-79DC-7BAF1AA1F227}" dt="2024-02-16T15:35:13.597" v="192"/>
        <pc:sldMkLst>
          <pc:docMk/>
          <pc:sldMk cId="564834492" sldId="11834"/>
        </pc:sldMkLst>
      </pc:sldChg>
      <pc:sldChg chg="delCm">
        <pc:chgData name="Sadzida Vrana" userId="S::sadzida.vrana@baywa-re.com::8c32c596-1b4d-4da4-b31a-f796641544b7" providerId="AD" clId="Web-{AE614CCD-C397-44FE-79DC-7BAF1AA1F227}" dt="2024-02-16T12:42:48.138" v="129"/>
        <pc:sldMkLst>
          <pc:docMk/>
          <pc:sldMk cId="885711964" sldId="1183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Sadzida Vrana" userId="S::sadzida.vrana@baywa-re.com::8c32c596-1b4d-4da4-b31a-f796641544b7" providerId="AD" clId="Web-{AE614CCD-C397-44FE-79DC-7BAF1AA1F227}" dt="2024-02-16T12:42:48.138" v="129"/>
              <pc2:cmMkLst xmlns:pc2="http://schemas.microsoft.com/office/powerpoint/2019/9/main/command">
                <pc:docMk/>
                <pc:sldMk cId="885711964" sldId="11836"/>
                <pc2:cmMk id="{C636A265-5AB2-47F3-A8B5-A3C153B9873D}"/>
              </pc2:cmMkLst>
            </pc226:cmChg>
          </p:ext>
        </pc:extLst>
      </pc:sldChg>
      <pc:sldChg chg="addSp delSp modSp delCm">
        <pc:chgData name="Sadzida Vrana" userId="S::sadzida.vrana@baywa-re.com::8c32c596-1b4d-4da4-b31a-f796641544b7" providerId="AD" clId="Web-{AE614CCD-C397-44FE-79DC-7BAF1AA1F227}" dt="2024-02-16T15:12:27.472" v="152" actId="1076"/>
        <pc:sldMkLst>
          <pc:docMk/>
          <pc:sldMk cId="1650431396" sldId="11838"/>
        </pc:sldMkLst>
        <pc:spChg chg="mod">
          <ac:chgData name="Sadzida Vrana" userId="S::sadzida.vrana@baywa-re.com::8c32c596-1b4d-4da4-b31a-f796641544b7" providerId="AD" clId="Web-{AE614CCD-C397-44FE-79DC-7BAF1AA1F227}" dt="2024-02-16T12:57:57.356" v="137" actId="1076"/>
          <ac:spMkLst>
            <pc:docMk/>
            <pc:sldMk cId="1650431396" sldId="11838"/>
            <ac:spMk id="3" creationId="{4E8F4FF1-24F5-01AA-5D6A-481D091D3396}"/>
          </ac:spMkLst>
        </pc:spChg>
        <pc:spChg chg="add del mod">
          <ac:chgData name="Sadzida Vrana" userId="S::sadzida.vrana@baywa-re.com::8c32c596-1b4d-4da4-b31a-f796641544b7" providerId="AD" clId="Web-{AE614CCD-C397-44FE-79DC-7BAF1AA1F227}" dt="2024-02-16T12:57:46.231" v="134"/>
          <ac:spMkLst>
            <pc:docMk/>
            <pc:sldMk cId="1650431396" sldId="11838"/>
            <ac:spMk id="8" creationId="{6932BEF9-5ED4-EDA6-6A07-A54796D4B5AA}"/>
          </ac:spMkLst>
        </pc:spChg>
        <pc:spChg chg="del">
          <ac:chgData name="Sadzida Vrana" userId="S::sadzida.vrana@baywa-re.com::8c32c596-1b4d-4da4-b31a-f796641544b7" providerId="AD" clId="Web-{AE614CCD-C397-44FE-79DC-7BAF1AA1F227}" dt="2024-02-16T12:57:42.965" v="133"/>
          <ac:spMkLst>
            <pc:docMk/>
            <pc:sldMk cId="1650431396" sldId="11838"/>
            <ac:spMk id="10" creationId="{238725D4-6F06-E445-6F17-3A647B74EA2A}"/>
          </ac:spMkLst>
        </pc:spChg>
        <pc:picChg chg="mod">
          <ac:chgData name="Sadzida Vrana" userId="S::sadzida.vrana@baywa-re.com::8c32c596-1b4d-4da4-b31a-f796641544b7" providerId="AD" clId="Web-{AE614CCD-C397-44FE-79DC-7BAF1AA1F227}" dt="2024-02-16T15:12:27.472" v="152" actId="1076"/>
          <ac:picMkLst>
            <pc:docMk/>
            <pc:sldMk cId="1650431396" sldId="11838"/>
            <ac:picMk id="12" creationId="{E8DD50FB-E308-242F-5C2A-455B050AC808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Sadzida Vrana" userId="S::sadzida.vrana@baywa-re.com::8c32c596-1b4d-4da4-b31a-f796641544b7" providerId="AD" clId="Web-{AE614CCD-C397-44FE-79DC-7BAF1AA1F227}" dt="2024-02-16T12:57:31.606" v="131"/>
              <pc2:cmMkLst xmlns:pc2="http://schemas.microsoft.com/office/powerpoint/2019/9/main/command">
                <pc:docMk/>
                <pc:sldMk cId="1650431396" sldId="11838"/>
                <pc2:cmMk id="{D3B8BD08-9281-4D61-AF8D-CC37C1D90B24}"/>
              </pc2:cmMkLst>
            </pc226:cmChg>
            <pc226:cmChg xmlns:pc226="http://schemas.microsoft.com/office/powerpoint/2022/06/main/command" chg="del">
              <pc226:chgData name="Sadzida Vrana" userId="S::sadzida.vrana@baywa-re.com::8c32c596-1b4d-4da4-b31a-f796641544b7" providerId="AD" clId="Web-{AE614CCD-C397-44FE-79DC-7BAF1AA1F227}" dt="2024-02-16T12:57:15.574" v="130"/>
              <pc2:cmMkLst xmlns:pc2="http://schemas.microsoft.com/office/powerpoint/2019/9/main/command">
                <pc:docMk/>
                <pc:sldMk cId="1650431396" sldId="11838"/>
                <pc2:cmMk id="{607EED1B-9C1E-4B50-9F36-09189E1FA407}"/>
              </pc2:cmMkLst>
            </pc226:cmChg>
            <pc226:cmChg xmlns:pc226="http://schemas.microsoft.com/office/powerpoint/2022/06/main/command" chg="del">
              <pc226:chgData name="Sadzida Vrana" userId="S::sadzida.vrana@baywa-re.com::8c32c596-1b4d-4da4-b31a-f796641544b7" providerId="AD" clId="Web-{AE614CCD-C397-44FE-79DC-7BAF1AA1F227}" dt="2024-02-16T12:57:33.574" v="132"/>
              <pc2:cmMkLst xmlns:pc2="http://schemas.microsoft.com/office/powerpoint/2019/9/main/command">
                <pc:docMk/>
                <pc:sldMk cId="1650431396" sldId="11838"/>
                <pc2:cmMk id="{1CF09F46-44D3-4FB2-8B2D-F9F16EDCAE27}"/>
              </pc2:cmMkLst>
            </pc226:cmChg>
          </p:ext>
        </pc:extLst>
      </pc:sldChg>
      <pc:sldChg chg="addSp delSp modSp del">
        <pc:chgData name="Sadzida Vrana" userId="S::sadzida.vrana@baywa-re.com::8c32c596-1b4d-4da4-b31a-f796641544b7" providerId="AD" clId="Web-{AE614CCD-C397-44FE-79DC-7BAF1AA1F227}" dt="2024-02-16T17:52:02.424" v="234"/>
        <pc:sldMkLst>
          <pc:docMk/>
          <pc:sldMk cId="4190903648" sldId="11840"/>
        </pc:sldMkLst>
        <pc:spChg chg="del">
          <ac:chgData name="Sadzida Vrana" userId="S::sadzida.vrana@baywa-re.com::8c32c596-1b4d-4da4-b31a-f796641544b7" providerId="AD" clId="Web-{AE614CCD-C397-44FE-79DC-7BAF1AA1F227}" dt="2024-02-16T17:51:10.407" v="224"/>
          <ac:spMkLst>
            <pc:docMk/>
            <pc:sldMk cId="4190903648" sldId="11840"/>
            <ac:spMk id="2" creationId="{E6878A99-BC76-264E-2A18-12801E24A3CD}"/>
          </ac:spMkLst>
        </pc:spChg>
        <pc:spChg chg="add mod">
          <ac:chgData name="Sadzida Vrana" userId="S::sadzida.vrana@baywa-re.com::8c32c596-1b4d-4da4-b31a-f796641544b7" providerId="AD" clId="Web-{AE614CCD-C397-44FE-79DC-7BAF1AA1F227}" dt="2024-02-16T17:47:51.682" v="218"/>
          <ac:spMkLst>
            <pc:docMk/>
            <pc:sldMk cId="4190903648" sldId="11840"/>
            <ac:spMk id="5" creationId="{884A4E0C-FD26-57B7-8C41-B9E6D88F7197}"/>
          </ac:spMkLst>
        </pc:spChg>
        <pc:spChg chg="mod">
          <ac:chgData name="Sadzida Vrana" userId="S::sadzida.vrana@baywa-re.com::8c32c596-1b4d-4da4-b31a-f796641544b7" providerId="AD" clId="Web-{AE614CCD-C397-44FE-79DC-7BAF1AA1F227}" dt="2024-02-16T13:26:58.745" v="139" actId="20577"/>
          <ac:spMkLst>
            <pc:docMk/>
            <pc:sldMk cId="4190903648" sldId="11840"/>
            <ac:spMk id="7" creationId="{299575EF-1A44-DBDC-AC4F-8D116953354F}"/>
          </ac:spMkLst>
        </pc:spChg>
        <pc:spChg chg="add mod">
          <ac:chgData name="Sadzida Vrana" userId="S::sadzida.vrana@baywa-re.com::8c32c596-1b4d-4da4-b31a-f796641544b7" providerId="AD" clId="Web-{AE614CCD-C397-44FE-79DC-7BAF1AA1F227}" dt="2024-02-16T17:51:10.407" v="224"/>
          <ac:spMkLst>
            <pc:docMk/>
            <pc:sldMk cId="4190903648" sldId="11840"/>
            <ac:spMk id="8" creationId="{1D8AC766-3B52-682B-E271-F58660EFAFF0}"/>
          </ac:spMkLst>
        </pc:spChg>
        <pc:picChg chg="del">
          <ac:chgData name="Sadzida Vrana" userId="S::sadzida.vrana@baywa-re.com::8c32c596-1b4d-4da4-b31a-f796641544b7" providerId="AD" clId="Web-{AE614CCD-C397-44FE-79DC-7BAF1AA1F227}" dt="2024-02-16T17:47:51.682" v="218"/>
          <ac:picMkLst>
            <pc:docMk/>
            <pc:sldMk cId="4190903648" sldId="11840"/>
            <ac:picMk id="16" creationId="{D4554BBA-FD9E-025B-23EE-082F8E613DDF}"/>
          </ac:picMkLst>
        </pc:picChg>
      </pc:sldChg>
      <pc:sldChg chg="modSp del">
        <pc:chgData name="Sadzida Vrana" userId="S::sadzida.vrana@baywa-re.com::8c32c596-1b4d-4da4-b31a-f796641544b7" providerId="AD" clId="Web-{AE614CCD-C397-44FE-79DC-7BAF1AA1F227}" dt="2024-02-16T17:47:23.212" v="217"/>
        <pc:sldMkLst>
          <pc:docMk/>
          <pc:sldMk cId="3197931968" sldId="11841"/>
        </pc:sldMkLst>
        <pc:spChg chg="mod">
          <ac:chgData name="Sadzida Vrana" userId="S::sadzida.vrana@baywa-re.com::8c32c596-1b4d-4da4-b31a-f796641544b7" providerId="AD" clId="Web-{AE614CCD-C397-44FE-79DC-7BAF1AA1F227}" dt="2024-02-16T15:36:16.880" v="199" actId="20577"/>
          <ac:spMkLst>
            <pc:docMk/>
            <pc:sldMk cId="3197931968" sldId="11841"/>
            <ac:spMk id="7" creationId="{EFD6BFDA-6F3F-CE6D-7E06-0952C9C2055F}"/>
          </ac:spMkLst>
        </pc:spChg>
      </pc:sldChg>
      <pc:sldChg chg="addSp delSp modSp delCm modNotes">
        <pc:chgData name="Sadzida Vrana" userId="S::sadzida.vrana@baywa-re.com::8c32c596-1b4d-4da4-b31a-f796641544b7" providerId="AD" clId="Web-{AE614CCD-C397-44FE-79DC-7BAF1AA1F227}" dt="2024-02-16T17:47:10.540" v="216" actId="20577"/>
        <pc:sldMkLst>
          <pc:docMk/>
          <pc:sldMk cId="215511285" sldId="11842"/>
        </pc:sldMkLst>
        <pc:spChg chg="mod">
          <ac:chgData name="Sadzida Vrana" userId="S::sadzida.vrana@baywa-re.com::8c32c596-1b4d-4da4-b31a-f796641544b7" providerId="AD" clId="Web-{AE614CCD-C397-44FE-79DC-7BAF1AA1F227}" dt="2024-02-16T17:47:10.540" v="216" actId="20577"/>
          <ac:spMkLst>
            <pc:docMk/>
            <pc:sldMk cId="215511285" sldId="11842"/>
            <ac:spMk id="6" creationId="{1E48F6D6-51B8-DAF9-A0B1-D7F99412AED5}"/>
          </ac:spMkLst>
        </pc:spChg>
        <pc:spChg chg="mod">
          <ac:chgData name="Sadzida Vrana" userId="S::sadzida.vrana@baywa-re.com::8c32c596-1b4d-4da4-b31a-f796641544b7" providerId="AD" clId="Web-{AE614CCD-C397-44FE-79DC-7BAF1AA1F227}" dt="2024-02-16T17:46:57.555" v="212" actId="20577"/>
          <ac:spMkLst>
            <pc:docMk/>
            <pc:sldMk cId="215511285" sldId="11842"/>
            <ac:spMk id="8" creationId="{92A2F30A-F07C-B9F6-69BC-8400685C396A}"/>
          </ac:spMkLst>
        </pc:spChg>
        <pc:picChg chg="add mod modCrop">
          <ac:chgData name="Sadzida Vrana" userId="S::sadzida.vrana@baywa-re.com::8c32c596-1b4d-4da4-b31a-f796641544b7" providerId="AD" clId="Web-{AE614CCD-C397-44FE-79DC-7BAF1AA1F227}" dt="2024-02-16T17:46:09.850" v="209"/>
          <ac:picMkLst>
            <pc:docMk/>
            <pc:sldMk cId="215511285" sldId="11842"/>
            <ac:picMk id="4" creationId="{B5948912-73A3-1804-AE4D-D2E2E80A6ACB}"/>
          </ac:picMkLst>
        </pc:picChg>
        <pc:picChg chg="del">
          <ac:chgData name="Sadzida Vrana" userId="S::sadzida.vrana@baywa-re.com::8c32c596-1b4d-4da4-b31a-f796641544b7" providerId="AD" clId="Web-{AE614CCD-C397-44FE-79DC-7BAF1AA1F227}" dt="2024-02-16T17:44:57.176" v="200"/>
          <ac:picMkLst>
            <pc:docMk/>
            <pc:sldMk cId="215511285" sldId="11842"/>
            <ac:picMk id="5" creationId="{8EB98B86-69D1-3662-1CF5-EF704DCDC125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Sadzida Vrana" userId="S::sadzida.vrana@baywa-re.com::8c32c596-1b4d-4da4-b31a-f796641544b7" providerId="AD" clId="Web-{AE614CCD-C397-44FE-79DC-7BAF1AA1F227}" dt="2024-02-16T12:18:53.904" v="114"/>
              <pc2:cmMkLst xmlns:pc2="http://schemas.microsoft.com/office/powerpoint/2019/9/main/command">
                <pc:docMk/>
                <pc:sldMk cId="215511285" sldId="11842"/>
                <pc2:cmMk id="{21656D49-54EF-4AB1-8C58-41D9477E2FC1}"/>
              </pc2:cmMkLst>
            </pc226:cmChg>
          </p:ext>
        </pc:extLst>
      </pc:sldChg>
      <pc:sldChg chg="addSp delSp modSp new">
        <pc:chgData name="Sadzida Vrana" userId="S::sadzida.vrana@baywa-re.com::8c32c596-1b4d-4da4-b31a-f796641544b7" providerId="AD" clId="Web-{AE614CCD-C397-44FE-79DC-7BAF1AA1F227}" dt="2024-02-16T17:51:54.033" v="233" actId="1076"/>
        <pc:sldMkLst>
          <pc:docMk/>
          <pc:sldMk cId="2628116744" sldId="11847"/>
        </pc:sldMkLst>
        <pc:spChg chg="del">
          <ac:chgData name="Sadzida Vrana" userId="S::sadzida.vrana@baywa-re.com::8c32c596-1b4d-4da4-b31a-f796641544b7" providerId="AD" clId="Web-{AE614CCD-C397-44FE-79DC-7BAF1AA1F227}" dt="2024-02-16T17:50:17.499" v="220"/>
          <ac:spMkLst>
            <pc:docMk/>
            <pc:sldMk cId="2628116744" sldId="11847"/>
            <ac:spMk id="2" creationId="{AA71012B-D9A4-3656-CCF5-45D83B874053}"/>
          </ac:spMkLst>
        </pc:spChg>
        <pc:spChg chg="del">
          <ac:chgData name="Sadzida Vrana" userId="S::sadzida.vrana@baywa-re.com::8c32c596-1b4d-4da4-b31a-f796641544b7" providerId="AD" clId="Web-{AE614CCD-C397-44FE-79DC-7BAF1AA1F227}" dt="2024-02-16T17:51:39.299" v="230"/>
          <ac:spMkLst>
            <pc:docMk/>
            <pc:sldMk cId="2628116744" sldId="11847"/>
            <ac:spMk id="5" creationId="{DECD425A-E992-6156-FB11-BF43AD7C0138}"/>
          </ac:spMkLst>
        </pc:spChg>
        <pc:spChg chg="del">
          <ac:chgData name="Sadzida Vrana" userId="S::sadzida.vrana@baywa-re.com::8c32c596-1b4d-4da4-b31a-f796641544b7" providerId="AD" clId="Web-{AE614CCD-C397-44FE-79DC-7BAF1AA1F227}" dt="2024-02-16T17:51:25.611" v="227"/>
          <ac:spMkLst>
            <pc:docMk/>
            <pc:sldMk cId="2628116744" sldId="11847"/>
            <ac:spMk id="6" creationId="{696203CE-4C67-90A9-B15F-E872E6ECE64D}"/>
          </ac:spMkLst>
        </pc:spChg>
        <pc:spChg chg="add del mod">
          <ac:chgData name="Sadzida Vrana" userId="S::sadzida.vrana@baywa-re.com::8c32c596-1b4d-4da4-b31a-f796641544b7" providerId="AD" clId="Web-{AE614CCD-C397-44FE-79DC-7BAF1AA1F227}" dt="2024-02-16T17:50:46.047" v="222"/>
          <ac:spMkLst>
            <pc:docMk/>
            <pc:sldMk cId="2628116744" sldId="11847"/>
            <ac:spMk id="10" creationId="{2288E425-5857-B671-A23C-4AE844966E66}"/>
          </ac:spMkLst>
        </pc:spChg>
        <pc:spChg chg="add mod">
          <ac:chgData name="Sadzida Vrana" userId="S::sadzida.vrana@baywa-re.com::8c32c596-1b4d-4da4-b31a-f796641544b7" providerId="AD" clId="Web-{AE614CCD-C397-44FE-79DC-7BAF1AA1F227}" dt="2024-02-16T17:51:19.642" v="226" actId="1076"/>
          <ac:spMkLst>
            <pc:docMk/>
            <pc:sldMk cId="2628116744" sldId="11847"/>
            <ac:spMk id="12" creationId="{E6878A99-BC76-264E-2A18-12801E24A3CD}"/>
          </ac:spMkLst>
        </pc:spChg>
        <pc:spChg chg="add mod">
          <ac:chgData name="Sadzida Vrana" userId="S::sadzida.vrana@baywa-re.com::8c32c596-1b4d-4da4-b31a-f796641544b7" providerId="AD" clId="Web-{AE614CCD-C397-44FE-79DC-7BAF1AA1F227}" dt="2024-02-16T17:51:54.033" v="233" actId="1076"/>
          <ac:spMkLst>
            <pc:docMk/>
            <pc:sldMk cId="2628116744" sldId="11847"/>
            <ac:spMk id="14" creationId="{E1B3C175-CDF9-80B9-1BD3-79EAC594A014}"/>
          </ac:spMkLst>
        </pc:spChg>
        <pc:picChg chg="add del mod ord">
          <ac:chgData name="Sadzida Vrana" userId="S::sadzida.vrana@baywa-re.com::8c32c596-1b4d-4da4-b31a-f796641544b7" providerId="AD" clId="Web-{AE614CCD-C397-44FE-79DC-7BAF1AA1F227}" dt="2024-02-16T17:50:19.859" v="221"/>
          <ac:picMkLst>
            <pc:docMk/>
            <pc:sldMk cId="2628116744" sldId="11847"/>
            <ac:picMk id="8" creationId="{D1856F9A-13DA-155C-0B0B-6FBB6691F6DC}"/>
          </ac:picMkLst>
        </pc:picChg>
        <pc:picChg chg="add mod ord">
          <ac:chgData name="Sadzida Vrana" userId="S::sadzida.vrana@baywa-re.com::8c32c596-1b4d-4da4-b31a-f796641544b7" providerId="AD" clId="Web-{AE614CCD-C397-44FE-79DC-7BAF1AA1F227}" dt="2024-02-16T17:50:51.875" v="223" actId="1076"/>
          <ac:picMkLst>
            <pc:docMk/>
            <pc:sldMk cId="2628116744" sldId="11847"/>
            <ac:picMk id="11" creationId="{BD65C4CD-BF01-D35F-BE58-79C19049737D}"/>
          </ac:picMkLst>
        </pc:picChg>
      </pc:sldChg>
    </pc:docChg>
  </pc:docChgLst>
  <pc:docChgLst>
    <pc:chgData name="Maria Roske" userId="S::maria.roske@baywa-re.com::ffa1689d-6bab-4c38-a474-1f226f7c1044" providerId="AD" clId="Web-{8FDD1431-FF9B-AA3B-8458-BF7A729804E1}"/>
    <pc:docChg chg="modSld">
      <pc:chgData name="Maria Roske" userId="S::maria.roske@baywa-re.com::ffa1689d-6bab-4c38-a474-1f226f7c1044" providerId="AD" clId="Web-{8FDD1431-FF9B-AA3B-8458-BF7A729804E1}" dt="2024-02-21T16:06:37.387" v="46" actId="20577"/>
      <pc:docMkLst>
        <pc:docMk/>
      </pc:docMkLst>
      <pc:sldChg chg="modSp">
        <pc:chgData name="Maria Roske" userId="S::maria.roske@baywa-re.com::ffa1689d-6bab-4c38-a474-1f226f7c1044" providerId="AD" clId="Web-{8FDD1431-FF9B-AA3B-8458-BF7A729804E1}" dt="2024-02-21T16:06:10.292" v="45" actId="1076"/>
        <pc:sldMkLst>
          <pc:docMk/>
          <pc:sldMk cId="193742719" sldId="11823"/>
        </pc:sldMkLst>
        <pc:spChg chg="mod">
          <ac:chgData name="Maria Roske" userId="S::maria.roske@baywa-re.com::ffa1689d-6bab-4c38-a474-1f226f7c1044" providerId="AD" clId="Web-{8FDD1431-FF9B-AA3B-8458-BF7A729804E1}" dt="2024-02-21T16:06:10.292" v="45" actId="1076"/>
          <ac:spMkLst>
            <pc:docMk/>
            <pc:sldMk cId="193742719" sldId="11823"/>
            <ac:spMk id="6" creationId="{B81E1E31-D7EE-4E76-A2F8-A502C1DEB6F6}"/>
          </ac:spMkLst>
        </pc:spChg>
      </pc:sldChg>
      <pc:sldChg chg="modSp">
        <pc:chgData name="Maria Roske" userId="S::maria.roske@baywa-re.com::ffa1689d-6bab-4c38-a474-1f226f7c1044" providerId="AD" clId="Web-{8FDD1431-FF9B-AA3B-8458-BF7A729804E1}" dt="2024-02-21T16:06:37.387" v="46" actId="20577"/>
        <pc:sldMkLst>
          <pc:docMk/>
          <pc:sldMk cId="442533751" sldId="11825"/>
        </pc:sldMkLst>
        <pc:spChg chg="mod">
          <ac:chgData name="Maria Roske" userId="S::maria.roske@baywa-re.com::ffa1689d-6bab-4c38-a474-1f226f7c1044" providerId="AD" clId="Web-{8FDD1431-FF9B-AA3B-8458-BF7A729804E1}" dt="2024-02-21T16:06:37.387" v="46" actId="20577"/>
          <ac:spMkLst>
            <pc:docMk/>
            <pc:sldMk cId="442533751" sldId="11825"/>
            <ac:spMk id="3" creationId="{840D1772-98AD-D71E-7E58-05F1A917BFAA}"/>
          </ac:spMkLst>
        </pc:spChg>
      </pc:sldChg>
      <pc:sldChg chg="modSp">
        <pc:chgData name="Maria Roske" userId="S::maria.roske@baywa-re.com::ffa1689d-6bab-4c38-a474-1f226f7c1044" providerId="AD" clId="Web-{8FDD1431-FF9B-AA3B-8458-BF7A729804E1}" dt="2024-02-21T16:05:38.603" v="42" actId="20577"/>
        <pc:sldMkLst>
          <pc:docMk/>
          <pc:sldMk cId="2003413771" sldId="11828"/>
        </pc:sldMkLst>
        <pc:spChg chg="mod">
          <ac:chgData name="Maria Roske" userId="S::maria.roske@baywa-re.com::ffa1689d-6bab-4c38-a474-1f226f7c1044" providerId="AD" clId="Web-{8FDD1431-FF9B-AA3B-8458-BF7A729804E1}" dt="2024-02-21T16:05:38.603" v="42" actId="20577"/>
          <ac:spMkLst>
            <pc:docMk/>
            <pc:sldMk cId="2003413771" sldId="11828"/>
            <ac:spMk id="2" creationId="{50C2F3D1-101E-BB99-3C2D-81A72C2ACF39}"/>
          </ac:spMkLst>
        </pc:spChg>
      </pc:sldChg>
      <pc:sldChg chg="modSp">
        <pc:chgData name="Maria Roske" userId="S::maria.roske@baywa-re.com::ffa1689d-6bab-4c38-a474-1f226f7c1044" providerId="AD" clId="Web-{8FDD1431-FF9B-AA3B-8458-BF7A729804E1}" dt="2024-02-21T16:02:23.128" v="21" actId="20577"/>
        <pc:sldMkLst>
          <pc:docMk/>
          <pc:sldMk cId="4283948165" sldId="11830"/>
        </pc:sldMkLst>
        <pc:spChg chg="mod">
          <ac:chgData name="Maria Roske" userId="S::maria.roske@baywa-re.com::ffa1689d-6bab-4c38-a474-1f226f7c1044" providerId="AD" clId="Web-{8FDD1431-FF9B-AA3B-8458-BF7A729804E1}" dt="2024-02-21T16:02:23.128" v="21" actId="20577"/>
          <ac:spMkLst>
            <pc:docMk/>
            <pc:sldMk cId="4283948165" sldId="11830"/>
            <ac:spMk id="8" creationId="{12CB2B05-6D94-1E05-4EBF-5A5895EE28DF}"/>
          </ac:spMkLst>
        </pc:spChg>
      </pc:sldChg>
      <pc:sldChg chg="modSp">
        <pc:chgData name="Maria Roske" userId="S::maria.roske@baywa-re.com::ffa1689d-6bab-4c38-a474-1f226f7c1044" providerId="AD" clId="Web-{8FDD1431-FF9B-AA3B-8458-BF7A729804E1}" dt="2024-02-21T16:05:23.353" v="40" actId="20577"/>
        <pc:sldMkLst>
          <pc:docMk/>
          <pc:sldMk cId="296205890" sldId="11843"/>
        </pc:sldMkLst>
        <pc:spChg chg="mod">
          <ac:chgData name="Maria Roske" userId="S::maria.roske@baywa-re.com::ffa1689d-6bab-4c38-a474-1f226f7c1044" providerId="AD" clId="Web-{8FDD1431-FF9B-AA3B-8458-BF7A729804E1}" dt="2024-02-21T16:05:23.353" v="40" actId="20577"/>
          <ac:spMkLst>
            <pc:docMk/>
            <pc:sldMk cId="296205890" sldId="11843"/>
            <ac:spMk id="10" creationId="{311C007F-A77A-2420-2606-713E1117E520}"/>
          </ac:spMkLst>
        </pc:spChg>
        <pc:spChg chg="mod">
          <ac:chgData name="Maria Roske" userId="S::maria.roske@baywa-re.com::ffa1689d-6bab-4c38-a474-1f226f7c1044" providerId="AD" clId="Web-{8FDD1431-FF9B-AA3B-8458-BF7A729804E1}" dt="2024-02-21T16:04:57.305" v="38" actId="20577"/>
          <ac:spMkLst>
            <pc:docMk/>
            <pc:sldMk cId="296205890" sldId="11843"/>
            <ac:spMk id="11" creationId="{CEA8F3D3-35FC-ABC9-A551-8E94F14ADDAA}"/>
          </ac:spMkLst>
        </pc:spChg>
      </pc:sldChg>
      <pc:sldChg chg="modSp">
        <pc:chgData name="Maria Roske" userId="S::maria.roske@baywa-re.com::ffa1689d-6bab-4c38-a474-1f226f7c1044" providerId="AD" clId="Web-{8FDD1431-FF9B-AA3B-8458-BF7A729804E1}" dt="2024-02-21T16:03:32.818" v="36" actId="20577"/>
        <pc:sldMkLst>
          <pc:docMk/>
          <pc:sldMk cId="535734560" sldId="11846"/>
        </pc:sldMkLst>
        <pc:spChg chg="mod">
          <ac:chgData name="Maria Roske" userId="S::maria.roske@baywa-re.com::ffa1689d-6bab-4c38-a474-1f226f7c1044" providerId="AD" clId="Web-{8FDD1431-FF9B-AA3B-8458-BF7A729804E1}" dt="2024-02-21T16:03:32.818" v="36" actId="20577"/>
          <ac:spMkLst>
            <pc:docMk/>
            <pc:sldMk cId="535734560" sldId="11846"/>
            <ac:spMk id="10" creationId="{6089B662-5E93-4987-80DB-AC06B9395210}"/>
          </ac:spMkLst>
        </pc:spChg>
      </pc:sldChg>
    </pc:docChg>
  </pc:docChgLst>
  <pc:docChgLst>
    <pc:chgData name="Gabriella Nilsson" userId="S::gabriella.nilsson@baywa-re.com::53371305-b4ff-48fc-aced-0e2162e247c3" providerId="AD" clId="Web-{D0D9F78A-3C9B-9720-0B8E-A58811028172}"/>
    <pc:docChg chg="modSld">
      <pc:chgData name="Gabriella Nilsson" userId="S::gabriella.nilsson@baywa-re.com::53371305-b4ff-48fc-aced-0e2162e247c3" providerId="AD" clId="Web-{D0D9F78A-3C9B-9720-0B8E-A58811028172}" dt="2024-02-22T16:30:12.597" v="4" actId="14100"/>
      <pc:docMkLst>
        <pc:docMk/>
      </pc:docMkLst>
      <pc:sldChg chg="addSp delSp modSp">
        <pc:chgData name="Gabriella Nilsson" userId="S::gabriella.nilsson@baywa-re.com::53371305-b4ff-48fc-aced-0e2162e247c3" providerId="AD" clId="Web-{D0D9F78A-3C9B-9720-0B8E-A58811028172}" dt="2024-02-22T16:30:12.597" v="4" actId="14100"/>
        <pc:sldMkLst>
          <pc:docMk/>
          <pc:sldMk cId="4283948165" sldId="11830"/>
        </pc:sldMkLst>
        <pc:spChg chg="add del mod">
          <ac:chgData name="Gabriella Nilsson" userId="S::gabriella.nilsson@baywa-re.com::53371305-b4ff-48fc-aced-0e2162e247c3" providerId="AD" clId="Web-{D0D9F78A-3C9B-9720-0B8E-A58811028172}" dt="2024-02-22T16:29:47.191" v="1"/>
          <ac:spMkLst>
            <pc:docMk/>
            <pc:sldMk cId="4283948165" sldId="11830"/>
            <ac:spMk id="6" creationId="{6AF63B6F-85AA-ED00-08A1-B299BD0F534D}"/>
          </ac:spMkLst>
        </pc:spChg>
        <pc:picChg chg="add mod ord">
          <ac:chgData name="Gabriella Nilsson" userId="S::gabriella.nilsson@baywa-re.com::53371305-b4ff-48fc-aced-0e2162e247c3" providerId="AD" clId="Web-{D0D9F78A-3C9B-9720-0B8E-A58811028172}" dt="2024-02-22T16:30:12.597" v="4" actId="14100"/>
          <ac:picMkLst>
            <pc:docMk/>
            <pc:sldMk cId="4283948165" sldId="11830"/>
            <ac:picMk id="7" creationId="{1BADC9D0-0EB1-C3A3-3195-78024FC34A64}"/>
          </ac:picMkLst>
        </pc:picChg>
        <pc:picChg chg="del">
          <ac:chgData name="Gabriella Nilsson" userId="S::gabriella.nilsson@baywa-re.com::53371305-b4ff-48fc-aced-0e2162e247c3" providerId="AD" clId="Web-{D0D9F78A-3C9B-9720-0B8E-A58811028172}" dt="2024-02-22T16:29:41.050" v="0"/>
          <ac:picMkLst>
            <pc:docMk/>
            <pc:sldMk cId="4283948165" sldId="11830"/>
            <ac:picMk id="9" creationId="{4F9BA37B-42B2-86C2-765D-EE827C115DE1}"/>
          </ac:picMkLst>
        </pc:picChg>
      </pc:sldChg>
    </pc:docChg>
  </pc:docChgLst>
  <pc:docChgLst>
    <pc:chgData name="Linda Laine" userId="ebc4109e-f52e-4974-923c-268d43fe982e" providerId="ADAL" clId="{B888AE77-B739-4CA7-95B4-DC67BF0C2E64}"/>
    <pc:docChg chg="undo custSel addSld delSld modSld sldOrd modSection">
      <pc:chgData name="Linda Laine" userId="ebc4109e-f52e-4974-923c-268d43fe982e" providerId="ADAL" clId="{B888AE77-B739-4CA7-95B4-DC67BF0C2E64}" dt="2024-02-15T08:45:20.495" v="105" actId="1076"/>
      <pc:docMkLst>
        <pc:docMk/>
      </pc:docMkLst>
      <pc:sldChg chg="addSp modSp mod ord">
        <pc:chgData name="Linda Laine" userId="ebc4109e-f52e-4974-923c-268d43fe982e" providerId="ADAL" clId="{B888AE77-B739-4CA7-95B4-DC67BF0C2E64}" dt="2024-02-15T08:37:14.242" v="59" actId="14100"/>
        <pc:sldMkLst>
          <pc:docMk/>
          <pc:sldMk cId="1438822100" sldId="11816"/>
        </pc:sldMkLst>
        <pc:spChg chg="mod">
          <ac:chgData name="Linda Laine" userId="ebc4109e-f52e-4974-923c-268d43fe982e" providerId="ADAL" clId="{B888AE77-B739-4CA7-95B4-DC67BF0C2E64}" dt="2024-02-15T08:33:56.373" v="10" actId="20577"/>
          <ac:spMkLst>
            <pc:docMk/>
            <pc:sldMk cId="1438822100" sldId="11816"/>
            <ac:spMk id="10" creationId="{6089B662-5E93-4987-80DB-AC06B9395210}"/>
          </ac:spMkLst>
        </pc:spChg>
        <pc:spChg chg="mod">
          <ac:chgData name="Linda Laine" userId="ebc4109e-f52e-4974-923c-268d43fe982e" providerId="ADAL" clId="{B888AE77-B739-4CA7-95B4-DC67BF0C2E64}" dt="2024-02-15T08:35:26.544" v="21" actId="20577"/>
          <ac:spMkLst>
            <pc:docMk/>
            <pc:sldMk cId="1438822100" sldId="11816"/>
            <ac:spMk id="16" creationId="{6DAC4400-ECC0-F7EF-450E-FEF92271DAD9}"/>
          </ac:spMkLst>
        </pc:spChg>
        <pc:spChg chg="add mod">
          <ac:chgData name="Linda Laine" userId="ebc4109e-f52e-4974-923c-268d43fe982e" providerId="ADAL" clId="{B888AE77-B739-4CA7-95B4-DC67BF0C2E64}" dt="2024-02-15T08:37:14.242" v="59" actId="14100"/>
          <ac:spMkLst>
            <pc:docMk/>
            <pc:sldMk cId="1438822100" sldId="11816"/>
            <ac:spMk id="20" creationId="{417100D2-B751-8B7C-E510-171D95850DCF}"/>
          </ac:spMkLst>
        </pc:spChg>
      </pc:sldChg>
      <pc:sldChg chg="modSp mod addCm">
        <pc:chgData name="Linda Laine" userId="ebc4109e-f52e-4974-923c-268d43fe982e" providerId="ADAL" clId="{B888AE77-B739-4CA7-95B4-DC67BF0C2E64}" dt="2024-02-15T08:44:26.136" v="103"/>
        <pc:sldMkLst>
          <pc:docMk/>
          <pc:sldMk cId="193742719" sldId="11823"/>
        </pc:sldMkLst>
        <pc:spChg chg="mod">
          <ac:chgData name="Linda Laine" userId="ebc4109e-f52e-4974-923c-268d43fe982e" providerId="ADAL" clId="{B888AE77-B739-4CA7-95B4-DC67BF0C2E64}" dt="2024-02-15T08:38:38.594" v="66" actId="20577"/>
          <ac:spMkLst>
            <pc:docMk/>
            <pc:sldMk cId="193742719" sldId="11823"/>
            <ac:spMk id="2" creationId="{18F90A48-A607-0AE8-5E2D-606EB8D3C81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Linda Laine" userId="ebc4109e-f52e-4974-923c-268d43fe982e" providerId="ADAL" clId="{B888AE77-B739-4CA7-95B4-DC67BF0C2E64}" dt="2024-02-15T08:44:26.136" v="103"/>
              <pc2:cmMkLst xmlns:pc2="http://schemas.microsoft.com/office/powerpoint/2019/9/main/command">
                <pc:docMk/>
                <pc:sldMk cId="193742719" sldId="11823"/>
                <pc2:cmMk id="{45F9EB9D-A085-436E-AF10-3C307E292E03}"/>
              </pc2:cmMkLst>
            </pc226:cmChg>
          </p:ext>
        </pc:extLst>
      </pc:sldChg>
      <pc:sldChg chg="modSp mod">
        <pc:chgData name="Linda Laine" userId="ebc4109e-f52e-4974-923c-268d43fe982e" providerId="ADAL" clId="{B888AE77-B739-4CA7-95B4-DC67BF0C2E64}" dt="2024-02-15T08:40:21.099" v="93" actId="14100"/>
        <pc:sldMkLst>
          <pc:docMk/>
          <pc:sldMk cId="3640258465" sldId="11824"/>
        </pc:sldMkLst>
        <pc:spChg chg="mod">
          <ac:chgData name="Linda Laine" userId="ebc4109e-f52e-4974-923c-268d43fe982e" providerId="ADAL" clId="{B888AE77-B739-4CA7-95B4-DC67BF0C2E64}" dt="2024-02-15T08:40:21.099" v="93" actId="14100"/>
          <ac:spMkLst>
            <pc:docMk/>
            <pc:sldMk cId="3640258465" sldId="11824"/>
            <ac:spMk id="5" creationId="{65C5CC32-4F56-2DD6-7526-D0E00D9FE0F6}"/>
          </ac:spMkLst>
        </pc:spChg>
        <pc:picChg chg="mod">
          <ac:chgData name="Linda Laine" userId="ebc4109e-f52e-4974-923c-268d43fe982e" providerId="ADAL" clId="{B888AE77-B739-4CA7-95B4-DC67BF0C2E64}" dt="2024-02-15T08:39:41.334" v="89" actId="14100"/>
          <ac:picMkLst>
            <pc:docMk/>
            <pc:sldMk cId="3640258465" sldId="11824"/>
            <ac:picMk id="1026" creationId="{1DEBEE97-C767-FB4B-14BB-44DA2B900AFC}"/>
          </ac:picMkLst>
        </pc:picChg>
      </pc:sldChg>
      <pc:sldChg chg="modSp mod">
        <pc:chgData name="Linda Laine" userId="ebc4109e-f52e-4974-923c-268d43fe982e" providerId="ADAL" clId="{B888AE77-B739-4CA7-95B4-DC67BF0C2E64}" dt="2024-02-15T08:40:58.597" v="97" actId="14100"/>
        <pc:sldMkLst>
          <pc:docMk/>
          <pc:sldMk cId="442533751" sldId="11825"/>
        </pc:sldMkLst>
        <pc:spChg chg="mod">
          <ac:chgData name="Linda Laine" userId="ebc4109e-f52e-4974-923c-268d43fe982e" providerId="ADAL" clId="{B888AE77-B739-4CA7-95B4-DC67BF0C2E64}" dt="2024-02-15T08:40:58.597" v="97" actId="14100"/>
          <ac:spMkLst>
            <pc:docMk/>
            <pc:sldMk cId="442533751" sldId="11825"/>
            <ac:spMk id="3" creationId="{840D1772-98AD-D71E-7E58-05F1A917BFAA}"/>
          </ac:spMkLst>
        </pc:spChg>
      </pc:sldChg>
      <pc:sldChg chg="addSp delSp modSp mod ord">
        <pc:chgData name="Linda Laine" userId="ebc4109e-f52e-4974-923c-268d43fe982e" providerId="ADAL" clId="{B888AE77-B739-4CA7-95B4-DC67BF0C2E64}" dt="2024-02-15T08:39:10.042" v="88" actId="20577"/>
        <pc:sldMkLst>
          <pc:docMk/>
          <pc:sldMk cId="1542540222" sldId="11826"/>
        </pc:sldMkLst>
        <pc:spChg chg="add del mod">
          <ac:chgData name="Linda Laine" userId="ebc4109e-f52e-4974-923c-268d43fe982e" providerId="ADAL" clId="{B888AE77-B739-4CA7-95B4-DC67BF0C2E64}" dt="2024-02-15T08:38:42.805" v="69" actId="478"/>
          <ac:spMkLst>
            <pc:docMk/>
            <pc:sldMk cId="1542540222" sldId="11826"/>
            <ac:spMk id="5" creationId="{FE316EF5-7786-F2C5-DF22-6646184AAF61}"/>
          </ac:spMkLst>
        </pc:spChg>
        <pc:spChg chg="add del">
          <ac:chgData name="Linda Laine" userId="ebc4109e-f52e-4974-923c-268d43fe982e" providerId="ADAL" clId="{B888AE77-B739-4CA7-95B4-DC67BF0C2E64}" dt="2024-02-15T08:38:42.805" v="69" actId="478"/>
          <ac:spMkLst>
            <pc:docMk/>
            <pc:sldMk cId="1542540222" sldId="11826"/>
            <ac:spMk id="6" creationId="{3CBEE844-16E2-4CDB-9D73-314FFFDC3E64}"/>
          </ac:spMkLst>
        </pc:spChg>
        <pc:spChg chg="mod">
          <ac:chgData name="Linda Laine" userId="ebc4109e-f52e-4974-923c-268d43fe982e" providerId="ADAL" clId="{B888AE77-B739-4CA7-95B4-DC67BF0C2E64}" dt="2024-02-15T08:39:10.042" v="88" actId="20577"/>
          <ac:spMkLst>
            <pc:docMk/>
            <pc:sldMk cId="1542540222" sldId="11826"/>
            <ac:spMk id="10" creationId="{6089B662-5E93-4987-80DB-AC06B9395210}"/>
          </ac:spMkLst>
        </pc:spChg>
      </pc:sldChg>
      <pc:sldChg chg="modSp mod">
        <pc:chgData name="Linda Laine" userId="ebc4109e-f52e-4974-923c-268d43fe982e" providerId="ADAL" clId="{B888AE77-B739-4CA7-95B4-DC67BF0C2E64}" dt="2024-02-15T08:42:38.005" v="102" actId="1076"/>
        <pc:sldMkLst>
          <pc:docMk/>
          <pc:sldMk cId="564834492" sldId="11834"/>
        </pc:sldMkLst>
        <pc:picChg chg="mod">
          <ac:chgData name="Linda Laine" userId="ebc4109e-f52e-4974-923c-268d43fe982e" providerId="ADAL" clId="{B888AE77-B739-4CA7-95B4-DC67BF0C2E64}" dt="2024-02-15T08:42:38.005" v="102" actId="1076"/>
          <ac:picMkLst>
            <pc:docMk/>
            <pc:sldMk cId="564834492" sldId="11834"/>
            <ac:picMk id="7" creationId="{FDB49843-E3DD-037B-CBE4-C388ACFB2E0B}"/>
          </ac:picMkLst>
        </pc:picChg>
      </pc:sldChg>
      <pc:sldChg chg="modSp mod">
        <pc:chgData name="Linda Laine" userId="ebc4109e-f52e-4974-923c-268d43fe982e" providerId="ADAL" clId="{B888AE77-B739-4CA7-95B4-DC67BF0C2E64}" dt="2024-02-15T08:45:20.495" v="105" actId="1076"/>
        <pc:sldMkLst>
          <pc:docMk/>
          <pc:sldMk cId="3197931968" sldId="11841"/>
        </pc:sldMkLst>
        <pc:picChg chg="mod">
          <ac:chgData name="Linda Laine" userId="ebc4109e-f52e-4974-923c-268d43fe982e" providerId="ADAL" clId="{B888AE77-B739-4CA7-95B4-DC67BF0C2E64}" dt="2024-02-15T08:45:20.495" v="105" actId="1076"/>
          <ac:picMkLst>
            <pc:docMk/>
            <pc:sldMk cId="3197931968" sldId="11841"/>
            <ac:picMk id="5" creationId="{568DC4F7-B7A4-D189-FC5C-F44C34F4400B}"/>
          </ac:picMkLst>
        </pc:picChg>
      </pc:sldChg>
      <pc:sldChg chg="new del">
        <pc:chgData name="Linda Laine" userId="ebc4109e-f52e-4974-923c-268d43fe982e" providerId="ADAL" clId="{B888AE77-B739-4CA7-95B4-DC67BF0C2E64}" dt="2024-02-15T08:42:20.994" v="100" actId="47"/>
        <pc:sldMkLst>
          <pc:docMk/>
          <pc:sldMk cId="765972277" sldId="11847"/>
        </pc:sldMkLst>
      </pc:sldChg>
      <pc:sldChg chg="add del">
        <pc:chgData name="Linda Laine" userId="ebc4109e-f52e-4974-923c-268d43fe982e" providerId="ADAL" clId="{B888AE77-B739-4CA7-95B4-DC67BF0C2E64}" dt="2024-02-15T08:42:25.704" v="101" actId="47"/>
        <pc:sldMkLst>
          <pc:docMk/>
          <pc:sldMk cId="2958397414" sldId="11848"/>
        </pc:sldMkLst>
      </pc:sldChg>
    </pc:docChg>
  </pc:docChgLst>
  <pc:docChgLst>
    <pc:chgData name="Gabriella Nilsson" userId="S::gabriella.nilsson@baywa-re.com::53371305-b4ff-48fc-aced-0e2162e247c3" providerId="AD" clId="Web-{408F7A7E-CE8E-5D3C-EBCB-F66331C05651}"/>
    <pc:docChg chg="addSld delSld modSld modSection">
      <pc:chgData name="Gabriella Nilsson" userId="S::gabriella.nilsson@baywa-re.com::53371305-b4ff-48fc-aced-0e2162e247c3" providerId="AD" clId="Web-{408F7A7E-CE8E-5D3C-EBCB-F66331C05651}" dt="2024-02-22T12:10:41.822" v="137" actId="20577"/>
      <pc:docMkLst>
        <pc:docMk/>
      </pc:docMkLst>
      <pc:sldChg chg="modSp">
        <pc:chgData name="Gabriella Nilsson" userId="S::gabriella.nilsson@baywa-re.com::53371305-b4ff-48fc-aced-0e2162e247c3" providerId="AD" clId="Web-{408F7A7E-CE8E-5D3C-EBCB-F66331C05651}" dt="2024-02-22T11:37:03.437" v="23" actId="20577"/>
        <pc:sldMkLst>
          <pc:docMk/>
          <pc:sldMk cId="744096859" sldId="4348"/>
        </pc:sldMkLst>
        <pc:spChg chg="mod">
          <ac:chgData name="Gabriella Nilsson" userId="S::gabriella.nilsson@baywa-re.com::53371305-b4ff-48fc-aced-0e2162e247c3" providerId="AD" clId="Web-{408F7A7E-CE8E-5D3C-EBCB-F66331C05651}" dt="2024-02-22T11:36:50.436" v="5" actId="20577"/>
          <ac:spMkLst>
            <pc:docMk/>
            <pc:sldMk cId="744096859" sldId="4348"/>
            <ac:spMk id="15" creationId="{F1EC2ABF-5B3C-6123-F1F9-7A41A4E90FF4}"/>
          </ac:spMkLst>
        </pc:spChg>
        <pc:spChg chg="mod">
          <ac:chgData name="Gabriella Nilsson" userId="S::gabriella.nilsson@baywa-re.com::53371305-b4ff-48fc-aced-0e2162e247c3" providerId="AD" clId="Web-{408F7A7E-CE8E-5D3C-EBCB-F66331C05651}" dt="2024-02-22T11:36:46.264" v="3" actId="20577"/>
          <ac:spMkLst>
            <pc:docMk/>
            <pc:sldMk cId="744096859" sldId="4348"/>
            <ac:spMk id="25" creationId="{7BAAB36F-B277-4DF0-90DE-DECB04F99E76}"/>
          </ac:spMkLst>
        </pc:spChg>
        <pc:spChg chg="mod">
          <ac:chgData name="Gabriella Nilsson" userId="S::gabriella.nilsson@baywa-re.com::53371305-b4ff-48fc-aced-0e2162e247c3" providerId="AD" clId="Web-{408F7A7E-CE8E-5D3C-EBCB-F66331C05651}" dt="2024-02-22T11:37:03.437" v="23" actId="20577"/>
          <ac:spMkLst>
            <pc:docMk/>
            <pc:sldMk cId="744096859" sldId="4348"/>
            <ac:spMk id="40" creationId="{346E80D6-FA6A-468D-9C19-E0DD9949A63B}"/>
          </ac:spMkLst>
        </pc:spChg>
      </pc:sldChg>
      <pc:sldChg chg="modSp">
        <pc:chgData name="Gabriella Nilsson" userId="S::gabriella.nilsson@baywa-re.com::53371305-b4ff-48fc-aced-0e2162e247c3" providerId="AD" clId="Web-{408F7A7E-CE8E-5D3C-EBCB-F66331C05651}" dt="2024-02-22T11:40:35.991" v="48" actId="20577"/>
        <pc:sldMkLst>
          <pc:docMk/>
          <pc:sldMk cId="3115884079" sldId="11756"/>
        </pc:sldMkLst>
        <pc:spChg chg="mod">
          <ac:chgData name="Gabriella Nilsson" userId="S::gabriella.nilsson@baywa-re.com::53371305-b4ff-48fc-aced-0e2162e247c3" providerId="AD" clId="Web-{408F7A7E-CE8E-5D3C-EBCB-F66331C05651}" dt="2024-02-22T11:40:35.991" v="48" actId="20577"/>
          <ac:spMkLst>
            <pc:docMk/>
            <pc:sldMk cId="3115884079" sldId="11756"/>
            <ac:spMk id="3" creationId="{840D1772-98AD-D71E-7E58-05F1A917BFAA}"/>
          </ac:spMkLst>
        </pc:spChg>
      </pc:sldChg>
      <pc:sldChg chg="modSp">
        <pc:chgData name="Gabriella Nilsson" userId="S::gabriella.nilsson@baywa-re.com::53371305-b4ff-48fc-aced-0e2162e247c3" providerId="AD" clId="Web-{408F7A7E-CE8E-5D3C-EBCB-F66331C05651}" dt="2024-02-22T11:50:10.606" v="117" actId="20577"/>
        <pc:sldMkLst>
          <pc:docMk/>
          <pc:sldMk cId="442533751" sldId="11825"/>
        </pc:sldMkLst>
        <pc:spChg chg="mod">
          <ac:chgData name="Gabriella Nilsson" userId="S::gabriella.nilsson@baywa-re.com::53371305-b4ff-48fc-aced-0e2162e247c3" providerId="AD" clId="Web-{408F7A7E-CE8E-5D3C-EBCB-F66331C05651}" dt="2024-02-22T11:50:10.606" v="117" actId="20577"/>
          <ac:spMkLst>
            <pc:docMk/>
            <pc:sldMk cId="442533751" sldId="11825"/>
            <ac:spMk id="3" creationId="{840D1772-98AD-D71E-7E58-05F1A917BFAA}"/>
          </ac:spMkLst>
        </pc:spChg>
      </pc:sldChg>
      <pc:sldChg chg="modSp">
        <pc:chgData name="Gabriella Nilsson" userId="S::gabriella.nilsson@baywa-re.com::53371305-b4ff-48fc-aced-0e2162e247c3" providerId="AD" clId="Web-{408F7A7E-CE8E-5D3C-EBCB-F66331C05651}" dt="2024-02-22T11:34:36.541" v="1" actId="20577"/>
        <pc:sldMkLst>
          <pc:docMk/>
          <pc:sldMk cId="1542540222" sldId="11826"/>
        </pc:sldMkLst>
        <pc:spChg chg="mod">
          <ac:chgData name="Gabriella Nilsson" userId="S::gabriella.nilsson@baywa-re.com::53371305-b4ff-48fc-aced-0e2162e247c3" providerId="AD" clId="Web-{408F7A7E-CE8E-5D3C-EBCB-F66331C05651}" dt="2024-02-22T11:34:36.541" v="1" actId="20577"/>
          <ac:spMkLst>
            <pc:docMk/>
            <pc:sldMk cId="1542540222" sldId="11826"/>
            <ac:spMk id="10" creationId="{6089B662-5E93-4987-80DB-AC06B9395210}"/>
          </ac:spMkLst>
        </pc:spChg>
      </pc:sldChg>
      <pc:sldChg chg="modSp">
        <pc:chgData name="Gabriella Nilsson" userId="S::gabriella.nilsson@baywa-re.com::53371305-b4ff-48fc-aced-0e2162e247c3" providerId="AD" clId="Web-{408F7A7E-CE8E-5D3C-EBCB-F66331C05651}" dt="2024-02-22T12:07:25.221" v="124" actId="20577"/>
        <pc:sldMkLst>
          <pc:docMk/>
          <pc:sldMk cId="4283948165" sldId="11830"/>
        </pc:sldMkLst>
        <pc:spChg chg="mod">
          <ac:chgData name="Gabriella Nilsson" userId="S::gabriella.nilsson@baywa-re.com::53371305-b4ff-48fc-aced-0e2162e247c3" providerId="AD" clId="Web-{408F7A7E-CE8E-5D3C-EBCB-F66331C05651}" dt="2024-02-22T12:07:25.221" v="124" actId="20577"/>
          <ac:spMkLst>
            <pc:docMk/>
            <pc:sldMk cId="4283948165" sldId="11830"/>
            <ac:spMk id="8" creationId="{12CB2B05-6D94-1E05-4EBF-5A5895EE28DF}"/>
          </ac:spMkLst>
        </pc:spChg>
      </pc:sldChg>
      <pc:sldChg chg="modSp">
        <pc:chgData name="Gabriella Nilsson" userId="S::gabriella.nilsson@baywa-re.com::53371305-b4ff-48fc-aced-0e2162e247c3" providerId="AD" clId="Web-{408F7A7E-CE8E-5D3C-EBCB-F66331C05651}" dt="2024-02-22T12:10:41.822" v="137" actId="20577"/>
        <pc:sldMkLst>
          <pc:docMk/>
          <pc:sldMk cId="1650431396" sldId="11838"/>
        </pc:sldMkLst>
        <pc:spChg chg="mod">
          <ac:chgData name="Gabriella Nilsson" userId="S::gabriella.nilsson@baywa-re.com::53371305-b4ff-48fc-aced-0e2162e247c3" providerId="AD" clId="Web-{408F7A7E-CE8E-5D3C-EBCB-F66331C05651}" dt="2024-02-22T12:10:41.822" v="137" actId="20577"/>
          <ac:spMkLst>
            <pc:docMk/>
            <pc:sldMk cId="1650431396" sldId="11838"/>
            <ac:spMk id="3" creationId="{4E8F4FF1-24F5-01AA-5D6A-481D091D3396}"/>
          </ac:spMkLst>
        </pc:spChg>
      </pc:sldChg>
      <pc:sldChg chg="del">
        <pc:chgData name="Gabriella Nilsson" userId="S::gabriella.nilsson@baywa-re.com::53371305-b4ff-48fc-aced-0e2162e247c3" providerId="AD" clId="Web-{408F7A7E-CE8E-5D3C-EBCB-F66331C05651}" dt="2024-02-22T11:56:28.807" v="118"/>
        <pc:sldMkLst>
          <pc:docMk/>
          <pc:sldMk cId="215511285" sldId="11842"/>
        </pc:sldMkLst>
      </pc:sldChg>
      <pc:sldChg chg="addSp delSp modSp add replId">
        <pc:chgData name="Gabriella Nilsson" userId="S::gabriella.nilsson@baywa-re.com::53371305-b4ff-48fc-aced-0e2162e247c3" providerId="AD" clId="Web-{408F7A7E-CE8E-5D3C-EBCB-F66331C05651}" dt="2024-02-22T12:06:59.267" v="122"/>
        <pc:sldMkLst>
          <pc:docMk/>
          <pc:sldMk cId="3788327286" sldId="11857"/>
        </pc:sldMkLst>
        <pc:spChg chg="mod">
          <ac:chgData name="Gabriella Nilsson" userId="S::gabriella.nilsson@baywa-re.com::53371305-b4ff-48fc-aced-0e2162e247c3" providerId="AD" clId="Web-{408F7A7E-CE8E-5D3C-EBCB-F66331C05651}" dt="2024-02-22T12:06:59.267" v="122"/>
          <ac:spMkLst>
            <pc:docMk/>
            <pc:sldMk cId="3788327286" sldId="11857"/>
            <ac:spMk id="2" creationId="{9AEB18EA-3EFE-7A53-C6A2-D055DCE0C17E}"/>
          </ac:spMkLst>
        </pc:spChg>
        <pc:spChg chg="mod">
          <ac:chgData name="Gabriella Nilsson" userId="S::gabriella.nilsson@baywa-re.com::53371305-b4ff-48fc-aced-0e2162e247c3" providerId="AD" clId="Web-{408F7A7E-CE8E-5D3C-EBCB-F66331C05651}" dt="2024-02-22T12:06:59.267" v="122"/>
          <ac:spMkLst>
            <pc:docMk/>
            <pc:sldMk cId="3788327286" sldId="11857"/>
            <ac:spMk id="4" creationId="{F8B9B717-C0D5-D818-60EA-5158560015E5}"/>
          </ac:spMkLst>
        </pc:spChg>
        <pc:spChg chg="mod">
          <ac:chgData name="Gabriella Nilsson" userId="S::gabriella.nilsson@baywa-re.com::53371305-b4ff-48fc-aced-0e2162e247c3" providerId="AD" clId="Web-{408F7A7E-CE8E-5D3C-EBCB-F66331C05651}" dt="2024-02-22T12:06:59.267" v="122"/>
          <ac:spMkLst>
            <pc:docMk/>
            <pc:sldMk cId="3788327286" sldId="11857"/>
            <ac:spMk id="5" creationId="{31042CC8-890C-F618-11F9-AA9C6D4DEFB6}"/>
          </ac:spMkLst>
        </pc:spChg>
        <pc:spChg chg="add del mod">
          <ac:chgData name="Gabriella Nilsson" userId="S::gabriella.nilsson@baywa-re.com::53371305-b4ff-48fc-aced-0e2162e247c3" providerId="AD" clId="Web-{408F7A7E-CE8E-5D3C-EBCB-F66331C05651}" dt="2024-02-22T12:06:53.470" v="121"/>
          <ac:spMkLst>
            <pc:docMk/>
            <pc:sldMk cId="3788327286" sldId="11857"/>
            <ac:spMk id="6" creationId="{C7040DF4-75FB-66B6-893D-BE3CCABB5641}"/>
          </ac:spMkLst>
        </pc:spChg>
        <pc:picChg chg="del">
          <ac:chgData name="Gabriella Nilsson" userId="S::gabriella.nilsson@baywa-re.com::53371305-b4ff-48fc-aced-0e2162e247c3" providerId="AD" clId="Web-{408F7A7E-CE8E-5D3C-EBCB-F66331C05651}" dt="2024-02-22T12:05:37.014" v="120"/>
          <ac:picMkLst>
            <pc:docMk/>
            <pc:sldMk cId="3788327286" sldId="11857"/>
            <ac:picMk id="7" creationId="{FDB49843-E3DD-037B-CBE4-C388ACFB2E0B}"/>
          </ac:picMkLst>
        </pc:picChg>
        <pc:picChg chg="add mod ord">
          <ac:chgData name="Gabriella Nilsson" userId="S::gabriella.nilsson@baywa-re.com::53371305-b4ff-48fc-aced-0e2162e247c3" providerId="AD" clId="Web-{408F7A7E-CE8E-5D3C-EBCB-F66331C05651}" dt="2024-02-22T12:06:59.267" v="122"/>
          <ac:picMkLst>
            <pc:docMk/>
            <pc:sldMk cId="3788327286" sldId="11857"/>
            <ac:picMk id="8" creationId="{EE722398-7833-822D-0542-EE2624CC341F}"/>
          </ac:picMkLst>
        </pc:picChg>
      </pc:sldChg>
    </pc:docChg>
  </pc:docChgLst>
  <pc:docChgLst>
    <pc:chgData name="Maria Roske" userId="S::maria.roske@baywa-re.com::ffa1689d-6bab-4c38-a474-1f226f7c1044" providerId="AD" clId="Web-{192DC127-F856-DA11-0AD0-34C1B6256262}"/>
    <pc:docChg chg="modSld">
      <pc:chgData name="Maria Roske" userId="S::maria.roske@baywa-re.com::ffa1689d-6bab-4c38-a474-1f226f7c1044" providerId="AD" clId="Web-{192DC127-F856-DA11-0AD0-34C1B6256262}" dt="2024-02-21T12:43:54.305" v="437" actId="20577"/>
      <pc:docMkLst>
        <pc:docMk/>
      </pc:docMkLst>
      <pc:sldChg chg="modSp">
        <pc:chgData name="Maria Roske" userId="S::maria.roske@baywa-re.com::ffa1689d-6bab-4c38-a474-1f226f7c1044" providerId="AD" clId="Web-{192DC127-F856-DA11-0AD0-34C1B6256262}" dt="2024-02-21T12:42:29.506" v="432" actId="20577"/>
        <pc:sldMkLst>
          <pc:docMk/>
          <pc:sldMk cId="744096859" sldId="4348"/>
        </pc:sldMkLst>
        <pc:spChg chg="mod">
          <ac:chgData name="Maria Roske" userId="S::maria.roske@baywa-re.com::ffa1689d-6bab-4c38-a474-1f226f7c1044" providerId="AD" clId="Web-{192DC127-F856-DA11-0AD0-34C1B6256262}" dt="2024-02-21T10:35:08.649" v="76" actId="20577"/>
          <ac:spMkLst>
            <pc:docMk/>
            <pc:sldMk cId="744096859" sldId="4348"/>
            <ac:spMk id="6" creationId="{E1208EB2-FC1F-0B4B-A8D3-63EA0B676A01}"/>
          </ac:spMkLst>
        </pc:spChg>
        <pc:spChg chg="mod">
          <ac:chgData name="Maria Roske" userId="S::maria.roske@baywa-re.com::ffa1689d-6bab-4c38-a474-1f226f7c1044" providerId="AD" clId="Web-{192DC127-F856-DA11-0AD0-34C1B6256262}" dt="2024-02-21T12:42:29.506" v="432" actId="20577"/>
          <ac:spMkLst>
            <pc:docMk/>
            <pc:sldMk cId="744096859" sldId="4348"/>
            <ac:spMk id="40" creationId="{346E80D6-FA6A-468D-9C19-E0DD9949A63B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0:40:53.999" v="155" actId="1076"/>
        <pc:sldMkLst>
          <pc:docMk/>
          <pc:sldMk cId="3115884079" sldId="11756"/>
        </pc:sldMkLst>
        <pc:spChg chg="mod">
          <ac:chgData name="Maria Roske" userId="S::maria.roske@baywa-re.com::ffa1689d-6bab-4c38-a474-1f226f7c1044" providerId="AD" clId="Web-{192DC127-F856-DA11-0AD0-34C1B6256262}" dt="2024-02-21T10:40:53.999" v="155" actId="1076"/>
          <ac:spMkLst>
            <pc:docMk/>
            <pc:sldMk cId="3115884079" sldId="11756"/>
            <ac:spMk id="3" creationId="{840D1772-98AD-D71E-7E58-05F1A917BFAA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2:28:40.933" v="354" actId="20577"/>
        <pc:sldMkLst>
          <pc:docMk/>
          <pc:sldMk cId="1438822100" sldId="11816"/>
        </pc:sldMkLst>
        <pc:spChg chg="mod">
          <ac:chgData name="Maria Roske" userId="S::maria.roske@baywa-re.com::ffa1689d-6bab-4c38-a474-1f226f7c1044" providerId="AD" clId="Web-{192DC127-F856-DA11-0AD0-34C1B6256262}" dt="2024-02-21T12:28:20.042" v="344" actId="20577"/>
          <ac:spMkLst>
            <pc:docMk/>
            <pc:sldMk cId="1438822100" sldId="11816"/>
            <ac:spMk id="5" creationId="{0C2A1D4D-4565-ED38-8601-11E454C37D26}"/>
          </ac:spMkLst>
        </pc:spChg>
        <pc:spChg chg="mod">
          <ac:chgData name="Maria Roske" userId="S::maria.roske@baywa-re.com::ffa1689d-6bab-4c38-a474-1f226f7c1044" providerId="AD" clId="Web-{192DC127-F856-DA11-0AD0-34C1B6256262}" dt="2024-02-21T12:28:07.401" v="342" actId="20577"/>
          <ac:spMkLst>
            <pc:docMk/>
            <pc:sldMk cId="1438822100" sldId="11816"/>
            <ac:spMk id="16" creationId="{6DAC4400-ECC0-F7EF-450E-FEF92271DAD9}"/>
          </ac:spMkLst>
        </pc:spChg>
        <pc:spChg chg="mod">
          <ac:chgData name="Maria Roske" userId="S::maria.roske@baywa-re.com::ffa1689d-6bab-4c38-a474-1f226f7c1044" providerId="AD" clId="Web-{192DC127-F856-DA11-0AD0-34C1B6256262}" dt="2024-02-21T12:28:34.714" v="346" actId="20577"/>
          <ac:spMkLst>
            <pc:docMk/>
            <pc:sldMk cId="1438822100" sldId="11816"/>
            <ac:spMk id="17" creationId="{3FDD0143-A9CB-A06C-56F3-FA3511EE9205}"/>
          </ac:spMkLst>
        </pc:spChg>
        <pc:spChg chg="mod">
          <ac:chgData name="Maria Roske" userId="S::maria.roske@baywa-re.com::ffa1689d-6bab-4c38-a474-1f226f7c1044" providerId="AD" clId="Web-{192DC127-F856-DA11-0AD0-34C1B6256262}" dt="2024-02-21T12:28:40.933" v="354" actId="20577"/>
          <ac:spMkLst>
            <pc:docMk/>
            <pc:sldMk cId="1438822100" sldId="11816"/>
            <ac:spMk id="19" creationId="{67C0233B-71C0-2A7E-D9D4-E6775EDE9977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2:34:20.897" v="386" actId="20577"/>
        <pc:sldMkLst>
          <pc:docMk/>
          <pc:sldMk cId="1436811274" sldId="11818"/>
        </pc:sldMkLst>
        <pc:spChg chg="mod">
          <ac:chgData name="Maria Roske" userId="S::maria.roske@baywa-re.com::ffa1689d-6bab-4c38-a474-1f226f7c1044" providerId="AD" clId="Web-{192DC127-F856-DA11-0AD0-34C1B6256262}" dt="2024-02-21T12:34:20.897" v="386" actId="20577"/>
          <ac:spMkLst>
            <pc:docMk/>
            <pc:sldMk cId="1436811274" sldId="11818"/>
            <ac:spMk id="10" creationId="{6089B662-5E93-4987-80DB-AC06B9395210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2:27:44.963" v="333" actId="20577"/>
        <pc:sldMkLst>
          <pc:docMk/>
          <pc:sldMk cId="193742719" sldId="11823"/>
        </pc:sldMkLst>
        <pc:spChg chg="mod">
          <ac:chgData name="Maria Roske" userId="S::maria.roske@baywa-re.com::ffa1689d-6bab-4c38-a474-1f226f7c1044" providerId="AD" clId="Web-{192DC127-F856-DA11-0AD0-34C1B6256262}" dt="2024-02-21T12:27:44.963" v="333" actId="20577"/>
          <ac:spMkLst>
            <pc:docMk/>
            <pc:sldMk cId="193742719" sldId="11823"/>
            <ac:spMk id="6" creationId="{B81E1E31-D7EE-4E76-A2F8-A502C1DEB6F6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2:43:54.305" v="437" actId="20577"/>
        <pc:sldMkLst>
          <pc:docMk/>
          <pc:sldMk cId="3640258465" sldId="11824"/>
        </pc:sldMkLst>
        <pc:spChg chg="mod">
          <ac:chgData name="Maria Roske" userId="S::maria.roske@baywa-re.com::ffa1689d-6bab-4c38-a474-1f226f7c1044" providerId="AD" clId="Web-{192DC127-F856-DA11-0AD0-34C1B6256262}" dt="2024-02-21T12:43:54.305" v="437" actId="20577"/>
          <ac:spMkLst>
            <pc:docMk/>
            <pc:sldMk cId="3640258465" sldId="11824"/>
            <ac:spMk id="8" creationId="{7E794ED0-D523-0257-0B07-A269246C0D91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0:50:16.426" v="176" actId="14100"/>
        <pc:sldMkLst>
          <pc:docMk/>
          <pc:sldMk cId="442533751" sldId="11825"/>
        </pc:sldMkLst>
        <pc:spChg chg="mod">
          <ac:chgData name="Maria Roske" userId="S::maria.roske@baywa-re.com::ffa1689d-6bab-4c38-a474-1f226f7c1044" providerId="AD" clId="Web-{192DC127-F856-DA11-0AD0-34C1B6256262}" dt="2024-02-21T10:50:16.426" v="176" actId="14100"/>
          <ac:spMkLst>
            <pc:docMk/>
            <pc:sldMk cId="442533751" sldId="11825"/>
            <ac:spMk id="3" creationId="{840D1772-98AD-D71E-7E58-05F1A917BFAA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2:41:06.800" v="418" actId="14100"/>
        <pc:sldMkLst>
          <pc:docMk/>
          <pc:sldMk cId="1542540222" sldId="11826"/>
        </pc:sldMkLst>
        <pc:spChg chg="mod">
          <ac:chgData name="Maria Roske" userId="S::maria.roske@baywa-re.com::ffa1689d-6bab-4c38-a474-1f226f7c1044" providerId="AD" clId="Web-{192DC127-F856-DA11-0AD0-34C1B6256262}" dt="2024-02-21T12:41:06.800" v="418" actId="14100"/>
          <ac:spMkLst>
            <pc:docMk/>
            <pc:sldMk cId="1542540222" sldId="11826"/>
            <ac:spMk id="10" creationId="{6089B662-5E93-4987-80DB-AC06B9395210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2:40:49.706" v="415" actId="20577"/>
        <pc:sldMkLst>
          <pc:docMk/>
          <pc:sldMk cId="3648646342" sldId="11827"/>
        </pc:sldMkLst>
        <pc:spChg chg="mod">
          <ac:chgData name="Maria Roske" userId="S::maria.roske@baywa-re.com::ffa1689d-6bab-4c38-a474-1f226f7c1044" providerId="AD" clId="Web-{192DC127-F856-DA11-0AD0-34C1B6256262}" dt="2024-02-21T12:40:49.706" v="415" actId="20577"/>
          <ac:spMkLst>
            <pc:docMk/>
            <pc:sldMk cId="3648646342" sldId="11827"/>
            <ac:spMk id="10" creationId="{6089B662-5E93-4987-80DB-AC06B9395210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0:39:16.337" v="118" actId="20577"/>
        <pc:sldMkLst>
          <pc:docMk/>
          <pc:sldMk cId="2003413771" sldId="11828"/>
        </pc:sldMkLst>
        <pc:spChg chg="mod">
          <ac:chgData name="Maria Roske" userId="S::maria.roske@baywa-re.com::ffa1689d-6bab-4c38-a474-1f226f7c1044" providerId="AD" clId="Web-{192DC127-F856-DA11-0AD0-34C1B6256262}" dt="2024-02-21T10:39:16.337" v="118" actId="20577"/>
          <ac:spMkLst>
            <pc:docMk/>
            <pc:sldMk cId="2003413771" sldId="11828"/>
            <ac:spMk id="2" creationId="{50C2F3D1-101E-BB99-3C2D-81A72C2ACF39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0:54:37.740" v="205" actId="14100"/>
        <pc:sldMkLst>
          <pc:docMk/>
          <pc:sldMk cId="4283948165" sldId="11830"/>
        </pc:sldMkLst>
        <pc:spChg chg="mod">
          <ac:chgData name="Maria Roske" userId="S::maria.roske@baywa-re.com::ffa1689d-6bab-4c38-a474-1f226f7c1044" providerId="AD" clId="Web-{192DC127-F856-DA11-0AD0-34C1B6256262}" dt="2024-02-21T10:54:37.740" v="205" actId="14100"/>
          <ac:spMkLst>
            <pc:docMk/>
            <pc:sldMk cId="4283948165" sldId="11830"/>
            <ac:spMk id="8" creationId="{12CB2B05-6D94-1E05-4EBF-5A5895EE28DF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0:53:17.563" v="197" actId="20577"/>
        <pc:sldMkLst>
          <pc:docMk/>
          <pc:sldMk cId="539130889" sldId="11831"/>
        </pc:sldMkLst>
        <pc:spChg chg="mod">
          <ac:chgData name="Maria Roske" userId="S::maria.roske@baywa-re.com::ffa1689d-6bab-4c38-a474-1f226f7c1044" providerId="AD" clId="Web-{192DC127-F856-DA11-0AD0-34C1B6256262}" dt="2024-02-21T10:51:41.479" v="179" actId="20577"/>
          <ac:spMkLst>
            <pc:docMk/>
            <pc:sldMk cId="539130889" sldId="11831"/>
            <ac:spMk id="7" creationId="{D1D3C367-EEC5-ACE2-6F4C-38F5DAE53F1F}"/>
          </ac:spMkLst>
        </pc:spChg>
        <pc:spChg chg="mod">
          <ac:chgData name="Maria Roske" userId="S::maria.roske@baywa-re.com::ffa1689d-6bab-4c38-a474-1f226f7c1044" providerId="AD" clId="Web-{192DC127-F856-DA11-0AD0-34C1B6256262}" dt="2024-02-21T10:51:48.964" v="181" actId="20577"/>
          <ac:spMkLst>
            <pc:docMk/>
            <pc:sldMk cId="539130889" sldId="11831"/>
            <ac:spMk id="8" creationId="{DFA8605D-DC48-836C-B81B-A6BDB203DD69}"/>
          </ac:spMkLst>
        </pc:spChg>
        <pc:spChg chg="mod">
          <ac:chgData name="Maria Roske" userId="S::maria.roske@baywa-re.com::ffa1689d-6bab-4c38-a474-1f226f7c1044" providerId="AD" clId="Web-{192DC127-F856-DA11-0AD0-34C1B6256262}" dt="2024-02-21T10:52:14.903" v="183" actId="20577"/>
          <ac:spMkLst>
            <pc:docMk/>
            <pc:sldMk cId="539130889" sldId="11831"/>
            <ac:spMk id="9" creationId="{735FFD0A-634A-7EF0-31B6-CE2C24928DD3}"/>
          </ac:spMkLst>
        </pc:spChg>
        <pc:spChg chg="mod">
          <ac:chgData name="Maria Roske" userId="S::maria.roske@baywa-re.com::ffa1689d-6bab-4c38-a474-1f226f7c1044" providerId="AD" clId="Web-{192DC127-F856-DA11-0AD0-34C1B6256262}" dt="2024-02-21T10:52:21.575" v="184" actId="20577"/>
          <ac:spMkLst>
            <pc:docMk/>
            <pc:sldMk cId="539130889" sldId="11831"/>
            <ac:spMk id="17" creationId="{7C53F789-0DAE-F2D8-D131-08FE6BCB47BE}"/>
          </ac:spMkLst>
        </pc:spChg>
        <pc:spChg chg="mod">
          <ac:chgData name="Maria Roske" userId="S::maria.roske@baywa-re.com::ffa1689d-6bab-4c38-a474-1f226f7c1044" providerId="AD" clId="Web-{192DC127-F856-DA11-0AD0-34C1B6256262}" dt="2024-02-21T10:53:14.485" v="196" actId="20577"/>
          <ac:spMkLst>
            <pc:docMk/>
            <pc:sldMk cId="539130889" sldId="11831"/>
            <ac:spMk id="18" creationId="{A685AE01-165D-6AD4-A9E4-915648FB69C0}"/>
          </ac:spMkLst>
        </pc:spChg>
        <pc:spChg chg="mod">
          <ac:chgData name="Maria Roske" userId="S::maria.roske@baywa-re.com::ffa1689d-6bab-4c38-a474-1f226f7c1044" providerId="AD" clId="Web-{192DC127-F856-DA11-0AD0-34C1B6256262}" dt="2024-02-21T10:53:17.563" v="197" actId="20577"/>
          <ac:spMkLst>
            <pc:docMk/>
            <pc:sldMk cId="539130889" sldId="11831"/>
            <ac:spMk id="21" creationId="{08C60D2B-2999-EBDC-2BAE-853002E345F2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2:03:32.763" v="231" actId="20577"/>
        <pc:sldMkLst>
          <pc:docMk/>
          <pc:sldMk cId="4073491896" sldId="11832"/>
        </pc:sldMkLst>
        <pc:spChg chg="mod">
          <ac:chgData name="Maria Roske" userId="S::maria.roske@baywa-re.com::ffa1689d-6bab-4c38-a474-1f226f7c1044" providerId="AD" clId="Web-{192DC127-F856-DA11-0AD0-34C1B6256262}" dt="2024-02-21T12:03:32.763" v="231" actId="20577"/>
          <ac:spMkLst>
            <pc:docMk/>
            <pc:sldMk cId="4073491896" sldId="11832"/>
            <ac:spMk id="3" creationId="{ED32CE90-4872-52BC-A13C-75DBFED745DF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2:03:43.951" v="232" actId="20577"/>
        <pc:sldMkLst>
          <pc:docMk/>
          <pc:sldMk cId="310762534" sldId="11833"/>
        </pc:sldMkLst>
        <pc:spChg chg="mod">
          <ac:chgData name="Maria Roske" userId="S::maria.roske@baywa-re.com::ffa1689d-6bab-4c38-a474-1f226f7c1044" providerId="AD" clId="Web-{192DC127-F856-DA11-0AD0-34C1B6256262}" dt="2024-02-21T12:03:43.951" v="232" actId="20577"/>
          <ac:spMkLst>
            <pc:docMk/>
            <pc:sldMk cId="310762534" sldId="11833"/>
            <ac:spMk id="2" creationId="{1E8F2DC1-BBFD-36F1-EADD-A0BB6A6F209E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2:04:04.701" v="239" actId="1076"/>
        <pc:sldMkLst>
          <pc:docMk/>
          <pc:sldMk cId="3942947842" sldId="11835"/>
        </pc:sldMkLst>
        <pc:spChg chg="mod">
          <ac:chgData name="Maria Roske" userId="S::maria.roske@baywa-re.com::ffa1689d-6bab-4c38-a474-1f226f7c1044" providerId="AD" clId="Web-{192DC127-F856-DA11-0AD0-34C1B6256262}" dt="2024-02-21T12:03:55.576" v="236" actId="20577"/>
          <ac:spMkLst>
            <pc:docMk/>
            <pc:sldMk cId="3942947842" sldId="11835"/>
            <ac:spMk id="2" creationId="{153248FF-F6F1-CAB8-2DDB-75A91664765C}"/>
          </ac:spMkLst>
        </pc:spChg>
        <pc:spChg chg="mod">
          <ac:chgData name="Maria Roske" userId="S::maria.roske@baywa-re.com::ffa1689d-6bab-4c38-a474-1f226f7c1044" providerId="AD" clId="Web-{192DC127-F856-DA11-0AD0-34C1B6256262}" dt="2024-02-21T12:04:04.701" v="239" actId="1076"/>
          <ac:spMkLst>
            <pc:docMk/>
            <pc:sldMk cId="3942947842" sldId="11835"/>
            <ac:spMk id="9" creationId="{9DC90EA1-885F-2EF5-CA05-19455F36CE10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2:04:20.702" v="244" actId="20577"/>
        <pc:sldMkLst>
          <pc:docMk/>
          <pc:sldMk cId="885711964" sldId="11836"/>
        </pc:sldMkLst>
        <pc:spChg chg="mod">
          <ac:chgData name="Maria Roske" userId="S::maria.roske@baywa-re.com::ffa1689d-6bab-4c38-a474-1f226f7c1044" providerId="AD" clId="Web-{192DC127-F856-DA11-0AD0-34C1B6256262}" dt="2024-02-21T12:04:15.202" v="242" actId="20577"/>
          <ac:spMkLst>
            <pc:docMk/>
            <pc:sldMk cId="885711964" sldId="11836"/>
            <ac:spMk id="8" creationId="{926C9AF6-B290-165B-41B2-B50DA70E4F04}"/>
          </ac:spMkLst>
        </pc:spChg>
        <pc:spChg chg="mod">
          <ac:chgData name="Maria Roske" userId="S::maria.roske@baywa-re.com::ffa1689d-6bab-4c38-a474-1f226f7c1044" providerId="AD" clId="Web-{192DC127-F856-DA11-0AD0-34C1B6256262}" dt="2024-02-21T12:04:20.702" v="244" actId="20577"/>
          <ac:spMkLst>
            <pc:docMk/>
            <pc:sldMk cId="885711964" sldId="11836"/>
            <ac:spMk id="10" creationId="{3033199B-35FB-5205-539D-582F4A78A990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2:04:32.843" v="248" actId="20577"/>
        <pc:sldMkLst>
          <pc:docMk/>
          <pc:sldMk cId="3915537676" sldId="11837"/>
        </pc:sldMkLst>
        <pc:spChg chg="mod">
          <ac:chgData name="Maria Roske" userId="S::maria.roske@baywa-re.com::ffa1689d-6bab-4c38-a474-1f226f7c1044" providerId="AD" clId="Web-{192DC127-F856-DA11-0AD0-34C1B6256262}" dt="2024-02-21T12:04:30.405" v="247" actId="20577"/>
          <ac:spMkLst>
            <pc:docMk/>
            <pc:sldMk cId="3915537676" sldId="11837"/>
            <ac:spMk id="6" creationId="{5BF6D29D-EBF4-6EEB-A48B-EDC75928068B}"/>
          </ac:spMkLst>
        </pc:spChg>
        <pc:spChg chg="mod">
          <ac:chgData name="Maria Roske" userId="S::maria.roske@baywa-re.com::ffa1689d-6bab-4c38-a474-1f226f7c1044" providerId="AD" clId="Web-{192DC127-F856-DA11-0AD0-34C1B6256262}" dt="2024-02-21T12:04:32.843" v="248" actId="20577"/>
          <ac:spMkLst>
            <pc:docMk/>
            <pc:sldMk cId="3915537676" sldId="11837"/>
            <ac:spMk id="8" creationId="{C1A7E4BB-D22A-51FB-6E9E-ADF43B5E5AC0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2:06:25.080" v="259" actId="20577"/>
        <pc:sldMkLst>
          <pc:docMk/>
          <pc:sldMk cId="1650431396" sldId="11838"/>
        </pc:sldMkLst>
        <pc:spChg chg="mod">
          <ac:chgData name="Maria Roske" userId="S::maria.roske@baywa-re.com::ffa1689d-6bab-4c38-a474-1f226f7c1044" providerId="AD" clId="Web-{192DC127-F856-DA11-0AD0-34C1B6256262}" dt="2024-02-21T12:06:15.314" v="258" actId="14100"/>
          <ac:spMkLst>
            <pc:docMk/>
            <pc:sldMk cId="1650431396" sldId="11838"/>
            <ac:spMk id="3" creationId="{4E8F4FF1-24F5-01AA-5D6A-481D091D3396}"/>
          </ac:spMkLst>
        </pc:spChg>
        <pc:spChg chg="mod">
          <ac:chgData name="Maria Roske" userId="S::maria.roske@baywa-re.com::ffa1689d-6bab-4c38-a474-1f226f7c1044" providerId="AD" clId="Web-{192DC127-F856-DA11-0AD0-34C1B6256262}" dt="2024-02-21T12:06:25.080" v="259" actId="20577"/>
          <ac:spMkLst>
            <pc:docMk/>
            <pc:sldMk cId="1650431396" sldId="11838"/>
            <ac:spMk id="6" creationId="{93133669-BC2A-2407-2234-DDD806F27B2A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0:51:16.274" v="177" actId="20577"/>
        <pc:sldMkLst>
          <pc:docMk/>
          <pc:sldMk cId="215511285" sldId="11842"/>
        </pc:sldMkLst>
        <pc:spChg chg="mod">
          <ac:chgData name="Maria Roske" userId="S::maria.roske@baywa-re.com::ffa1689d-6bab-4c38-a474-1f226f7c1044" providerId="AD" clId="Web-{192DC127-F856-DA11-0AD0-34C1B6256262}" dt="2024-02-21T10:51:16.274" v="177" actId="20577"/>
          <ac:spMkLst>
            <pc:docMk/>
            <pc:sldMk cId="215511285" sldId="11842"/>
            <ac:spMk id="6" creationId="{1E48F6D6-51B8-DAF9-A0B1-D7F99412AED5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2:11:49.323" v="331" actId="20577"/>
        <pc:sldMkLst>
          <pc:docMk/>
          <pc:sldMk cId="296205890" sldId="11843"/>
        </pc:sldMkLst>
        <pc:spChg chg="mod">
          <ac:chgData name="Maria Roske" userId="S::maria.roske@baywa-re.com::ffa1689d-6bab-4c38-a474-1f226f7c1044" providerId="AD" clId="Web-{192DC127-F856-DA11-0AD0-34C1B6256262}" dt="2024-02-21T12:11:12.510" v="329" actId="20577"/>
          <ac:spMkLst>
            <pc:docMk/>
            <pc:sldMk cId="296205890" sldId="11843"/>
            <ac:spMk id="10" creationId="{311C007F-A77A-2420-2606-713E1117E520}"/>
          </ac:spMkLst>
        </pc:spChg>
        <pc:spChg chg="mod">
          <ac:chgData name="Maria Roske" userId="S::maria.roske@baywa-re.com::ffa1689d-6bab-4c38-a474-1f226f7c1044" providerId="AD" clId="Web-{192DC127-F856-DA11-0AD0-34C1B6256262}" dt="2024-02-21T12:11:49.323" v="331" actId="20577"/>
          <ac:spMkLst>
            <pc:docMk/>
            <pc:sldMk cId="296205890" sldId="11843"/>
            <ac:spMk id="11" creationId="{CEA8F3D3-35FC-ABC9-A551-8E94F14ADDAA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2:40:23.939" v="404" actId="20577"/>
        <pc:sldMkLst>
          <pc:docMk/>
          <pc:sldMk cId="367668850" sldId="11844"/>
        </pc:sldMkLst>
        <pc:spChg chg="mod">
          <ac:chgData name="Maria Roske" userId="S::maria.roske@baywa-re.com::ffa1689d-6bab-4c38-a474-1f226f7c1044" providerId="AD" clId="Web-{192DC127-F856-DA11-0AD0-34C1B6256262}" dt="2024-02-21T12:40:23.939" v="404" actId="20577"/>
          <ac:spMkLst>
            <pc:docMk/>
            <pc:sldMk cId="367668850" sldId="11844"/>
            <ac:spMk id="10" creationId="{6089B662-5E93-4987-80DB-AC06B9395210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2:42:15.661" v="427" actId="20577"/>
        <pc:sldMkLst>
          <pc:docMk/>
          <pc:sldMk cId="2055950001" sldId="11845"/>
        </pc:sldMkLst>
        <pc:spChg chg="mod">
          <ac:chgData name="Maria Roske" userId="S::maria.roske@baywa-re.com::ffa1689d-6bab-4c38-a474-1f226f7c1044" providerId="AD" clId="Web-{192DC127-F856-DA11-0AD0-34C1B6256262}" dt="2024-02-21T12:42:15.661" v="427" actId="20577"/>
          <ac:spMkLst>
            <pc:docMk/>
            <pc:sldMk cId="2055950001" sldId="11845"/>
            <ac:spMk id="10" creationId="{6089B662-5E93-4987-80DB-AC06B9395210}"/>
          </ac:spMkLst>
        </pc:spChg>
      </pc:sldChg>
      <pc:sldChg chg="modSp">
        <pc:chgData name="Maria Roske" userId="S::maria.roske@baywa-re.com::ffa1689d-6bab-4c38-a474-1f226f7c1044" providerId="AD" clId="Web-{192DC127-F856-DA11-0AD0-34C1B6256262}" dt="2024-02-21T12:41:55.786" v="421" actId="20577"/>
        <pc:sldMkLst>
          <pc:docMk/>
          <pc:sldMk cId="2628116744" sldId="11847"/>
        </pc:sldMkLst>
        <pc:spChg chg="mod">
          <ac:chgData name="Maria Roske" userId="S::maria.roske@baywa-re.com::ffa1689d-6bab-4c38-a474-1f226f7c1044" providerId="AD" clId="Web-{192DC127-F856-DA11-0AD0-34C1B6256262}" dt="2024-02-21T12:41:55.786" v="421" actId="20577"/>
          <ac:spMkLst>
            <pc:docMk/>
            <pc:sldMk cId="2628116744" sldId="11847"/>
            <ac:spMk id="12" creationId="{E6878A99-BC76-264E-2A18-12801E24A3CD}"/>
          </ac:spMkLst>
        </pc:spChg>
        <pc:spChg chg="mod">
          <ac:chgData name="Maria Roske" userId="S::maria.roske@baywa-re.com::ffa1689d-6bab-4c38-a474-1f226f7c1044" providerId="AD" clId="Web-{192DC127-F856-DA11-0AD0-34C1B6256262}" dt="2024-02-21T12:09:26.226" v="313" actId="14100"/>
          <ac:spMkLst>
            <pc:docMk/>
            <pc:sldMk cId="2628116744" sldId="11847"/>
            <ac:spMk id="14" creationId="{E1B3C175-CDF9-80B9-1BD3-79EAC594A014}"/>
          </ac:spMkLst>
        </pc:spChg>
      </pc:sldChg>
    </pc:docChg>
  </pc:docChgLst>
  <pc:docChgLst>
    <pc:chgData name="Maria Roske" userId="S::maria.roske@baywa-re.com::ffa1689d-6bab-4c38-a474-1f226f7c1044" providerId="AD" clId="Web-{ADA1AB8A-F3B1-2164-4B3D-839B88C40648}"/>
    <pc:docChg chg="modSld">
      <pc:chgData name="Maria Roske" userId="S::maria.roske@baywa-re.com::ffa1689d-6bab-4c38-a474-1f226f7c1044" providerId="AD" clId="Web-{ADA1AB8A-F3B1-2164-4B3D-839B88C40648}" dt="2024-02-21T10:23:10.059" v="7" actId="1076"/>
      <pc:docMkLst>
        <pc:docMk/>
      </pc:docMkLst>
      <pc:sldChg chg="modSp">
        <pc:chgData name="Maria Roske" userId="S::maria.roske@baywa-re.com::ffa1689d-6bab-4c38-a474-1f226f7c1044" providerId="AD" clId="Web-{ADA1AB8A-F3B1-2164-4B3D-839B88C40648}" dt="2024-02-21T10:23:10.059" v="7" actId="1076"/>
        <pc:sldMkLst>
          <pc:docMk/>
          <pc:sldMk cId="744096859" sldId="4348"/>
        </pc:sldMkLst>
        <pc:spChg chg="mod">
          <ac:chgData name="Maria Roske" userId="S::maria.roske@baywa-re.com::ffa1689d-6bab-4c38-a474-1f226f7c1044" providerId="AD" clId="Web-{ADA1AB8A-F3B1-2164-4B3D-839B88C40648}" dt="2024-02-21T10:23:10.059" v="7" actId="1076"/>
          <ac:spMkLst>
            <pc:docMk/>
            <pc:sldMk cId="744096859" sldId="4348"/>
            <ac:spMk id="6" creationId="{E1208EB2-FC1F-0B4B-A8D3-63EA0B676A01}"/>
          </ac:spMkLst>
        </pc:spChg>
        <pc:spChg chg="mod">
          <ac:chgData name="Maria Roske" userId="S::maria.roske@baywa-re.com::ffa1689d-6bab-4c38-a474-1f226f7c1044" providerId="AD" clId="Web-{ADA1AB8A-F3B1-2164-4B3D-839B88C40648}" dt="2024-02-21T10:22:24.933" v="3" actId="1076"/>
          <ac:spMkLst>
            <pc:docMk/>
            <pc:sldMk cId="744096859" sldId="4348"/>
            <ac:spMk id="40" creationId="{346E80D6-FA6A-468D-9C19-E0DD9949A63B}"/>
          </ac:spMkLst>
        </pc:spChg>
      </pc:sldChg>
    </pc:docChg>
  </pc:docChgLst>
  <pc:docChgLst>
    <pc:chgData name="Sadzida Vrana" userId="S::sadzida.vrana@baywa-re.com::8c32c596-1b4d-4da4-b31a-f796641544b7" providerId="AD" clId="Web-{E4E089DC-11FB-5F7A-7631-6B96FDFD9D1F}"/>
    <pc:docChg chg="modSld">
      <pc:chgData name="Sadzida Vrana" userId="S::sadzida.vrana@baywa-re.com::8c32c596-1b4d-4da4-b31a-f796641544b7" providerId="AD" clId="Web-{E4E089DC-11FB-5F7A-7631-6B96FDFD9D1F}" dt="2024-02-16T11:36:12.130" v="57" actId="20577"/>
      <pc:docMkLst>
        <pc:docMk/>
      </pc:docMkLst>
      <pc:sldChg chg="delCm">
        <pc:chgData name="Sadzida Vrana" userId="S::sadzida.vrana@baywa-re.com::8c32c596-1b4d-4da4-b31a-f796641544b7" providerId="AD" clId="Web-{E4E089DC-11FB-5F7A-7631-6B96FDFD9D1F}" dt="2024-02-16T11:35:26.349" v="52"/>
        <pc:sldMkLst>
          <pc:docMk/>
          <pc:sldMk cId="4056726798" sldId="52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Sadzida Vrana" userId="S::sadzida.vrana@baywa-re.com::8c32c596-1b4d-4da4-b31a-f796641544b7" providerId="AD" clId="Web-{E4E089DC-11FB-5F7A-7631-6B96FDFD9D1F}" dt="2024-02-16T11:35:26.349" v="52"/>
              <pc2:cmMkLst xmlns:pc2="http://schemas.microsoft.com/office/powerpoint/2019/9/main/command">
                <pc:docMk/>
                <pc:sldMk cId="4056726798" sldId="527"/>
                <pc2:cmMk id="{06315F40-006D-4688-BDE5-49DA1D3FD214}"/>
              </pc2:cmMkLst>
            </pc226:cmChg>
          </p:ext>
        </pc:extLst>
      </pc:sldChg>
      <pc:sldChg chg="modSp">
        <pc:chgData name="Sadzida Vrana" userId="S::sadzida.vrana@baywa-re.com::8c32c596-1b4d-4da4-b31a-f796641544b7" providerId="AD" clId="Web-{E4E089DC-11FB-5F7A-7631-6B96FDFD9D1F}" dt="2024-02-16T08:54:14.361" v="3" actId="20577"/>
        <pc:sldMkLst>
          <pc:docMk/>
          <pc:sldMk cId="3115884079" sldId="11756"/>
        </pc:sldMkLst>
        <pc:spChg chg="mod">
          <ac:chgData name="Sadzida Vrana" userId="S::sadzida.vrana@baywa-re.com::8c32c596-1b4d-4da4-b31a-f796641544b7" providerId="AD" clId="Web-{E4E089DC-11FB-5F7A-7631-6B96FDFD9D1F}" dt="2024-02-16T08:54:14.361" v="3" actId="20577"/>
          <ac:spMkLst>
            <pc:docMk/>
            <pc:sldMk cId="3115884079" sldId="11756"/>
            <ac:spMk id="3" creationId="{840D1772-98AD-D71E-7E58-05F1A917BFAA}"/>
          </ac:spMkLst>
        </pc:spChg>
      </pc:sldChg>
      <pc:sldChg chg="mod modShow">
        <pc:chgData name="Sadzida Vrana" userId="S::sadzida.vrana@baywa-re.com::8c32c596-1b4d-4da4-b31a-f796641544b7" providerId="AD" clId="Web-{E4E089DC-11FB-5F7A-7631-6B96FDFD9D1F}" dt="2024-02-16T11:36:00.208" v="56"/>
        <pc:sldMkLst>
          <pc:docMk/>
          <pc:sldMk cId="1438822100" sldId="11816"/>
        </pc:sldMkLst>
      </pc:sldChg>
      <pc:sldChg chg="delCm">
        <pc:chgData name="Sadzida Vrana" userId="S::sadzida.vrana@baywa-re.com::8c32c596-1b4d-4da4-b31a-f796641544b7" providerId="AD" clId="Web-{E4E089DC-11FB-5F7A-7631-6B96FDFD9D1F}" dt="2024-02-16T11:35:44.568" v="55"/>
        <pc:sldMkLst>
          <pc:docMk/>
          <pc:sldMk cId="193742719" sldId="1182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Sadzida Vrana" userId="S::sadzida.vrana@baywa-re.com::8c32c596-1b4d-4da4-b31a-f796641544b7" providerId="AD" clId="Web-{E4E089DC-11FB-5F7A-7631-6B96FDFD9D1F}" dt="2024-02-16T11:35:40.599" v="53"/>
              <pc2:cmMkLst xmlns:pc2="http://schemas.microsoft.com/office/powerpoint/2019/9/main/command">
                <pc:docMk/>
                <pc:sldMk cId="193742719" sldId="11823"/>
                <pc2:cmMk id="{1117E358-BBE7-48AE-A435-B7ADD8DF39EE}"/>
              </pc2:cmMkLst>
            </pc226:cmChg>
            <pc226:cmChg xmlns:pc226="http://schemas.microsoft.com/office/powerpoint/2022/06/main/command" chg="del">
              <pc226:chgData name="Sadzida Vrana" userId="S::sadzida.vrana@baywa-re.com::8c32c596-1b4d-4da4-b31a-f796641544b7" providerId="AD" clId="Web-{E4E089DC-11FB-5F7A-7631-6B96FDFD9D1F}" dt="2024-02-16T11:35:42.333" v="54"/>
              <pc2:cmMkLst xmlns:pc2="http://schemas.microsoft.com/office/powerpoint/2019/9/main/command">
                <pc:docMk/>
                <pc:sldMk cId="193742719" sldId="11823"/>
                <pc2:cmMk id="{D6827B82-EFCB-43F6-8360-AE5CEA1D6A08}"/>
              </pc2:cmMkLst>
            </pc226:cmChg>
            <pc226:cmChg xmlns:pc226="http://schemas.microsoft.com/office/powerpoint/2022/06/main/command" chg="del">
              <pc226:chgData name="Sadzida Vrana" userId="S::sadzida.vrana@baywa-re.com::8c32c596-1b4d-4da4-b31a-f796641544b7" providerId="AD" clId="Web-{E4E089DC-11FB-5F7A-7631-6B96FDFD9D1F}" dt="2024-02-16T11:35:44.568" v="55"/>
              <pc2:cmMkLst xmlns:pc2="http://schemas.microsoft.com/office/powerpoint/2019/9/main/command">
                <pc:docMk/>
                <pc:sldMk cId="193742719" sldId="11823"/>
                <pc2:cmMk id="{45F9EB9D-A085-436E-AF10-3C307E292E03}"/>
              </pc2:cmMkLst>
            </pc226:cmChg>
          </p:ext>
        </pc:extLst>
      </pc:sldChg>
      <pc:sldChg chg="modSp">
        <pc:chgData name="Sadzida Vrana" userId="S::sadzida.vrana@baywa-re.com::8c32c596-1b4d-4da4-b31a-f796641544b7" providerId="AD" clId="Web-{E4E089DC-11FB-5F7A-7631-6B96FDFD9D1F}" dt="2024-02-16T11:36:12.130" v="57" actId="20577"/>
        <pc:sldMkLst>
          <pc:docMk/>
          <pc:sldMk cId="3640258465" sldId="11824"/>
        </pc:sldMkLst>
        <pc:spChg chg="mod">
          <ac:chgData name="Sadzida Vrana" userId="S::sadzida.vrana@baywa-re.com::8c32c596-1b4d-4da4-b31a-f796641544b7" providerId="AD" clId="Web-{E4E089DC-11FB-5F7A-7631-6B96FDFD9D1F}" dt="2024-02-16T11:36:12.130" v="57" actId="20577"/>
          <ac:spMkLst>
            <pc:docMk/>
            <pc:sldMk cId="3640258465" sldId="11824"/>
            <ac:spMk id="5" creationId="{65C5CC32-4F56-2DD6-7526-D0E00D9FE0F6}"/>
          </ac:spMkLst>
        </pc:spChg>
        <pc:spChg chg="mod">
          <ac:chgData name="Sadzida Vrana" userId="S::sadzida.vrana@baywa-re.com::8c32c596-1b4d-4da4-b31a-f796641544b7" providerId="AD" clId="Web-{E4E089DC-11FB-5F7A-7631-6B96FDFD9D1F}" dt="2024-02-16T08:43:30.918" v="0" actId="14100"/>
          <ac:spMkLst>
            <pc:docMk/>
            <pc:sldMk cId="3640258465" sldId="11824"/>
            <ac:spMk id="8" creationId="{7E794ED0-D523-0257-0B07-A269246C0D91}"/>
          </ac:spMkLst>
        </pc:spChg>
      </pc:sldChg>
      <pc:sldChg chg="modSp">
        <pc:chgData name="Sadzida Vrana" userId="S::sadzida.vrana@baywa-re.com::8c32c596-1b4d-4da4-b31a-f796641544b7" providerId="AD" clId="Web-{E4E089DC-11FB-5F7A-7631-6B96FDFD9D1F}" dt="2024-02-16T08:53:56.252" v="2" actId="20577"/>
        <pc:sldMkLst>
          <pc:docMk/>
          <pc:sldMk cId="442533751" sldId="11825"/>
        </pc:sldMkLst>
        <pc:spChg chg="mod">
          <ac:chgData name="Sadzida Vrana" userId="S::sadzida.vrana@baywa-re.com::8c32c596-1b4d-4da4-b31a-f796641544b7" providerId="AD" clId="Web-{E4E089DC-11FB-5F7A-7631-6B96FDFD9D1F}" dt="2024-02-16T08:53:56.252" v="2" actId="20577"/>
          <ac:spMkLst>
            <pc:docMk/>
            <pc:sldMk cId="442533751" sldId="11825"/>
            <ac:spMk id="3" creationId="{840D1772-98AD-D71E-7E58-05F1A917BFAA}"/>
          </ac:spMkLst>
        </pc:spChg>
      </pc:sldChg>
      <pc:sldChg chg="modSp">
        <pc:chgData name="Sadzida Vrana" userId="S::sadzida.vrana@baywa-re.com::8c32c596-1b4d-4da4-b31a-f796641544b7" providerId="AD" clId="Web-{E4E089DC-11FB-5F7A-7631-6B96FDFD9D1F}" dt="2024-02-16T09:15:19.497" v="20" actId="20577"/>
        <pc:sldMkLst>
          <pc:docMk/>
          <pc:sldMk cId="4283948165" sldId="11830"/>
        </pc:sldMkLst>
        <pc:spChg chg="mod">
          <ac:chgData name="Sadzida Vrana" userId="S::sadzida.vrana@baywa-re.com::8c32c596-1b4d-4da4-b31a-f796641544b7" providerId="AD" clId="Web-{E4E089DC-11FB-5F7A-7631-6B96FDFD9D1F}" dt="2024-02-16T09:15:19.497" v="20" actId="20577"/>
          <ac:spMkLst>
            <pc:docMk/>
            <pc:sldMk cId="4283948165" sldId="11830"/>
            <ac:spMk id="8" creationId="{12CB2B05-6D94-1E05-4EBF-5A5895EE28DF}"/>
          </ac:spMkLst>
        </pc:spChg>
      </pc:sldChg>
      <pc:sldChg chg="modSp delCm modCm">
        <pc:chgData name="Sadzida Vrana" userId="S::sadzida.vrana@baywa-re.com::8c32c596-1b4d-4da4-b31a-f796641544b7" providerId="AD" clId="Web-{E4E089DC-11FB-5F7A-7631-6B96FDFD9D1F}" dt="2024-02-16T09:14:02.496" v="15"/>
        <pc:sldMkLst>
          <pc:docMk/>
          <pc:sldMk cId="539130889" sldId="11831"/>
        </pc:sldMkLst>
        <pc:spChg chg="mod">
          <ac:chgData name="Sadzida Vrana" userId="S::sadzida.vrana@baywa-re.com::8c32c596-1b4d-4da4-b31a-f796641544b7" providerId="AD" clId="Web-{E4E089DC-11FB-5F7A-7631-6B96FDFD9D1F}" dt="2024-02-16T09:12:26.620" v="9" actId="20577"/>
          <ac:spMkLst>
            <pc:docMk/>
            <pc:sldMk cId="539130889" sldId="11831"/>
            <ac:spMk id="17" creationId="{7C53F789-0DAE-F2D8-D131-08FE6BCB47BE}"/>
          </ac:spMkLst>
        </pc:spChg>
        <pc:spChg chg="mod">
          <ac:chgData name="Sadzida Vrana" userId="S::sadzida.vrana@baywa-re.com::8c32c596-1b4d-4da4-b31a-f796641544b7" providerId="AD" clId="Web-{E4E089DC-11FB-5F7A-7631-6B96FDFD9D1F}" dt="2024-02-16T09:13:30.574" v="12" actId="20577"/>
          <ac:spMkLst>
            <pc:docMk/>
            <pc:sldMk cId="539130889" sldId="11831"/>
            <ac:spMk id="18" creationId="{A685AE01-165D-6AD4-A9E4-915648FB69C0}"/>
          </ac:spMkLst>
        </pc:spChg>
        <pc:spChg chg="mod">
          <ac:chgData name="Sadzida Vrana" userId="S::sadzida.vrana@baywa-re.com::8c32c596-1b4d-4da4-b31a-f796641544b7" providerId="AD" clId="Web-{E4E089DC-11FB-5F7A-7631-6B96FDFD9D1F}" dt="2024-02-16T09:13:50.933" v="14" actId="20577"/>
          <ac:spMkLst>
            <pc:docMk/>
            <pc:sldMk cId="539130889" sldId="11831"/>
            <ac:spMk id="21" creationId="{08C60D2B-2999-EBDC-2BAE-853002E345F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Sadzida Vrana" userId="S::sadzida.vrana@baywa-re.com::8c32c596-1b4d-4da4-b31a-f796641544b7" providerId="AD" clId="Web-{E4E089DC-11FB-5F7A-7631-6B96FDFD9D1F}" dt="2024-02-16T09:14:02.496" v="15"/>
              <pc2:cmMkLst xmlns:pc2="http://schemas.microsoft.com/office/powerpoint/2019/9/main/command">
                <pc:docMk/>
                <pc:sldMk cId="539130889" sldId="11831"/>
                <pc2:cmMk id="{2C14575F-DEF7-41CD-82CD-BEDA9FD9925D}"/>
              </pc2:cmMkLst>
            </pc226:cmChg>
          </p:ext>
        </pc:extLst>
      </pc:sldChg>
      <pc:sldChg chg="modSp modCm">
        <pc:chgData name="Sadzida Vrana" userId="S::sadzida.vrana@baywa-re.com::8c32c596-1b4d-4da4-b31a-f796641544b7" providerId="AD" clId="Web-{E4E089DC-11FB-5F7A-7631-6B96FDFD9D1F}" dt="2024-02-16T09:19:19.811" v="51" actId="20577"/>
        <pc:sldMkLst>
          <pc:docMk/>
          <pc:sldMk cId="1650431396" sldId="11838"/>
        </pc:sldMkLst>
        <pc:spChg chg="mod">
          <ac:chgData name="Sadzida Vrana" userId="S::sadzida.vrana@baywa-re.com::8c32c596-1b4d-4da4-b31a-f796641544b7" providerId="AD" clId="Web-{E4E089DC-11FB-5F7A-7631-6B96FDFD9D1F}" dt="2024-02-16T09:19:19.811" v="51" actId="20577"/>
          <ac:spMkLst>
            <pc:docMk/>
            <pc:sldMk cId="1650431396" sldId="11838"/>
            <ac:spMk id="3" creationId="{4E8F4FF1-24F5-01AA-5D6A-481D091D339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adzida Vrana" userId="S::sadzida.vrana@baywa-re.com::8c32c596-1b4d-4da4-b31a-f796641544b7" providerId="AD" clId="Web-{E4E089DC-11FB-5F7A-7631-6B96FDFD9D1F}" dt="2024-02-16T09:19:19.811" v="51" actId="20577"/>
              <pc2:cmMkLst xmlns:pc2="http://schemas.microsoft.com/office/powerpoint/2019/9/main/command">
                <pc:docMk/>
                <pc:sldMk cId="1650431396" sldId="11838"/>
                <pc2:cmMk id="{607EED1B-9C1E-4B50-9F36-09189E1FA407}"/>
              </pc2:cmMkLst>
            </pc226:cmChg>
          </p:ext>
        </pc:extLst>
      </pc:sldChg>
      <pc:sldChg chg="modSp modCm">
        <pc:chgData name="Sadzida Vrana" userId="S::sadzida.vrana@baywa-re.com::8c32c596-1b4d-4da4-b31a-f796641544b7" providerId="AD" clId="Web-{E4E089DC-11FB-5F7A-7631-6B96FDFD9D1F}" dt="2024-02-16T09:10:41.651" v="8" actId="20577"/>
        <pc:sldMkLst>
          <pc:docMk/>
          <pc:sldMk cId="215511285" sldId="11842"/>
        </pc:sldMkLst>
        <pc:spChg chg="mod">
          <ac:chgData name="Sadzida Vrana" userId="S::sadzida.vrana@baywa-re.com::8c32c596-1b4d-4da4-b31a-f796641544b7" providerId="AD" clId="Web-{E4E089DC-11FB-5F7A-7631-6B96FDFD9D1F}" dt="2024-02-16T09:10:41.651" v="8" actId="20577"/>
          <ac:spMkLst>
            <pc:docMk/>
            <pc:sldMk cId="215511285" sldId="11842"/>
            <ac:spMk id="8" creationId="{92A2F30A-F07C-B9F6-69BC-8400685C396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adzida Vrana" userId="S::sadzida.vrana@baywa-re.com::8c32c596-1b4d-4da4-b31a-f796641544b7" providerId="AD" clId="Web-{E4E089DC-11FB-5F7A-7631-6B96FDFD9D1F}" dt="2024-02-16T09:10:41.651" v="8" actId="20577"/>
              <pc2:cmMkLst xmlns:pc2="http://schemas.microsoft.com/office/powerpoint/2019/9/main/command">
                <pc:docMk/>
                <pc:sldMk cId="215511285" sldId="11842"/>
                <pc2:cmMk id="{21656D49-54EF-4AB1-8C58-41D9477E2FC1}"/>
              </pc2:cmMkLst>
            </pc226:cmChg>
          </p:ext>
        </pc:extLst>
      </pc:sldChg>
    </pc:docChg>
  </pc:docChgLst>
  <pc:docChgLst>
    <pc:chgData name="Sadzida Vrana" userId="S::sadzida.vrana@baywa-re.com::8c32c596-1b4d-4da4-b31a-f796641544b7" providerId="AD" clId="Web-{A78BAF97-6482-822E-EE46-1AF039AEE3AB}"/>
    <pc:docChg chg="modSld">
      <pc:chgData name="Sadzida Vrana" userId="S::sadzida.vrana@baywa-re.com::8c32c596-1b4d-4da4-b31a-f796641544b7" providerId="AD" clId="Web-{A78BAF97-6482-822E-EE46-1AF039AEE3AB}" dt="2024-02-21T21:15:44.566" v="5" actId="20577"/>
      <pc:docMkLst>
        <pc:docMk/>
      </pc:docMkLst>
      <pc:sldChg chg="modSp">
        <pc:chgData name="Sadzida Vrana" userId="S::sadzida.vrana@baywa-re.com::8c32c596-1b4d-4da4-b31a-f796641544b7" providerId="AD" clId="Web-{A78BAF97-6482-822E-EE46-1AF039AEE3AB}" dt="2024-02-21T21:15:44.566" v="5" actId="20577"/>
        <pc:sldMkLst>
          <pc:docMk/>
          <pc:sldMk cId="4283948165" sldId="11830"/>
        </pc:sldMkLst>
        <pc:spChg chg="mod">
          <ac:chgData name="Sadzida Vrana" userId="S::sadzida.vrana@baywa-re.com::8c32c596-1b4d-4da4-b31a-f796641544b7" providerId="AD" clId="Web-{A78BAF97-6482-822E-EE46-1AF039AEE3AB}" dt="2024-02-21T21:15:44.566" v="5" actId="20577"/>
          <ac:spMkLst>
            <pc:docMk/>
            <pc:sldMk cId="4283948165" sldId="11830"/>
            <ac:spMk id="8" creationId="{12CB2B05-6D94-1E05-4EBF-5A5895EE28DF}"/>
          </ac:spMkLst>
        </pc:spChg>
      </pc:sldChg>
    </pc:docChg>
  </pc:docChgLst>
  <pc:docChgLst>
    <pc:chgData name="Sadzida Vrana" userId="S::sadzida.vrana@baywa-re.com::8c32c596-1b4d-4da4-b31a-f796641544b7" providerId="AD" clId="Web-{02DA691F-D7B5-E473-7F6E-7B547E4E16C2}"/>
    <pc:docChg chg="addSld delSld modSld modSection">
      <pc:chgData name="Sadzida Vrana" userId="S::sadzida.vrana@baywa-re.com::8c32c596-1b4d-4da4-b31a-f796641544b7" providerId="AD" clId="Web-{02DA691F-D7B5-E473-7F6E-7B547E4E16C2}" dt="2024-02-21T12:48:18.738" v="41" actId="1076"/>
      <pc:docMkLst>
        <pc:docMk/>
      </pc:docMkLst>
      <pc:sldChg chg="addSp delSp modSp">
        <pc:chgData name="Sadzida Vrana" userId="S::sadzida.vrana@baywa-re.com::8c32c596-1b4d-4da4-b31a-f796641544b7" providerId="AD" clId="Web-{02DA691F-D7B5-E473-7F6E-7B547E4E16C2}" dt="2024-02-21T12:44:34.230" v="6" actId="1076"/>
        <pc:sldMkLst>
          <pc:docMk/>
          <pc:sldMk cId="4073491896" sldId="11832"/>
        </pc:sldMkLst>
        <pc:spChg chg="mod">
          <ac:chgData name="Sadzida Vrana" userId="S::sadzida.vrana@baywa-re.com::8c32c596-1b4d-4da4-b31a-f796641544b7" providerId="AD" clId="Web-{02DA691F-D7B5-E473-7F6E-7B547E4E16C2}" dt="2024-02-21T12:44:19.839" v="2" actId="20577"/>
          <ac:spMkLst>
            <pc:docMk/>
            <pc:sldMk cId="4073491896" sldId="11832"/>
            <ac:spMk id="3" creationId="{ED32CE90-4872-52BC-A13C-75DBFED745DF}"/>
          </ac:spMkLst>
        </pc:spChg>
        <pc:picChg chg="add mod">
          <ac:chgData name="Sadzida Vrana" userId="S::sadzida.vrana@baywa-re.com::8c32c596-1b4d-4da4-b31a-f796641544b7" providerId="AD" clId="Web-{02DA691F-D7B5-E473-7F6E-7B547E4E16C2}" dt="2024-02-21T12:44:34.230" v="6" actId="1076"/>
          <ac:picMkLst>
            <pc:docMk/>
            <pc:sldMk cId="4073491896" sldId="11832"/>
            <ac:picMk id="6" creationId="{67613CCD-38B1-5E02-7D8A-69D9DE535872}"/>
          </ac:picMkLst>
        </pc:picChg>
        <pc:picChg chg="del">
          <ac:chgData name="Sadzida Vrana" userId="S::sadzida.vrana@baywa-re.com::8c32c596-1b4d-4da4-b31a-f796641544b7" providerId="AD" clId="Web-{02DA691F-D7B5-E473-7F6E-7B547E4E16C2}" dt="2024-02-21T12:44:25.370" v="3"/>
          <ac:picMkLst>
            <pc:docMk/>
            <pc:sldMk cId="4073491896" sldId="11832"/>
            <ac:picMk id="7" creationId="{240B4C8F-0608-0CCC-E352-5714DF335B88}"/>
          </ac:picMkLst>
        </pc:picChg>
        <pc:picChg chg="del">
          <ac:chgData name="Sadzida Vrana" userId="S::sadzida.vrana@baywa-re.com::8c32c596-1b4d-4da4-b31a-f796641544b7" providerId="AD" clId="Web-{02DA691F-D7B5-E473-7F6E-7B547E4E16C2}" dt="2024-02-21T12:44:26.323" v="4"/>
          <ac:picMkLst>
            <pc:docMk/>
            <pc:sldMk cId="4073491896" sldId="11832"/>
            <ac:picMk id="9" creationId="{B358799D-FAA9-DF86-5E83-DADEEDF7EE87}"/>
          </ac:picMkLst>
        </pc:picChg>
      </pc:sldChg>
      <pc:sldChg chg="del">
        <pc:chgData name="Sadzida Vrana" userId="S::sadzida.vrana@baywa-re.com::8c32c596-1b4d-4da4-b31a-f796641544b7" providerId="AD" clId="Web-{02DA691F-D7B5-E473-7F6E-7B547E4E16C2}" dt="2024-02-21T12:47:06.016" v="29"/>
        <pc:sldMkLst>
          <pc:docMk/>
          <pc:sldMk cId="310762534" sldId="11833"/>
        </pc:sldMkLst>
      </pc:sldChg>
      <pc:sldChg chg="del">
        <pc:chgData name="Sadzida Vrana" userId="S::sadzida.vrana@baywa-re.com::8c32c596-1b4d-4da4-b31a-f796641544b7" providerId="AD" clId="Web-{02DA691F-D7B5-E473-7F6E-7B547E4E16C2}" dt="2024-02-21T12:47:07.345" v="30"/>
        <pc:sldMkLst>
          <pc:docMk/>
          <pc:sldMk cId="3942947842" sldId="11835"/>
        </pc:sldMkLst>
      </pc:sldChg>
      <pc:sldChg chg="del">
        <pc:chgData name="Sadzida Vrana" userId="S::sadzida.vrana@baywa-re.com::8c32c596-1b4d-4da4-b31a-f796641544b7" providerId="AD" clId="Web-{02DA691F-D7B5-E473-7F6E-7B547E4E16C2}" dt="2024-02-21T12:47:08.501" v="31"/>
        <pc:sldMkLst>
          <pc:docMk/>
          <pc:sldMk cId="885711964" sldId="11836"/>
        </pc:sldMkLst>
      </pc:sldChg>
      <pc:sldChg chg="del">
        <pc:chgData name="Sadzida Vrana" userId="S::sadzida.vrana@baywa-re.com::8c32c596-1b4d-4da4-b31a-f796641544b7" providerId="AD" clId="Web-{02DA691F-D7B5-E473-7F6E-7B547E4E16C2}" dt="2024-02-21T12:47:09.907" v="32"/>
        <pc:sldMkLst>
          <pc:docMk/>
          <pc:sldMk cId="3915537676" sldId="11837"/>
        </pc:sldMkLst>
      </pc:sldChg>
      <pc:sldChg chg="new del">
        <pc:chgData name="Sadzida Vrana" userId="S::sadzida.vrana@baywa-re.com::8c32c596-1b4d-4da4-b31a-f796641544b7" providerId="AD" clId="Web-{02DA691F-D7B5-E473-7F6E-7B547E4E16C2}" dt="2024-02-21T12:45:14.950" v="9"/>
        <pc:sldMkLst>
          <pc:docMk/>
          <pc:sldMk cId="407551491" sldId="11848"/>
        </pc:sldMkLst>
      </pc:sldChg>
      <pc:sldChg chg="modSp add">
        <pc:chgData name="Sadzida Vrana" userId="S::sadzida.vrana@baywa-re.com::8c32c596-1b4d-4da4-b31a-f796641544b7" providerId="AD" clId="Web-{02DA691F-D7B5-E473-7F6E-7B547E4E16C2}" dt="2024-02-21T12:46:12.671" v="15" actId="20577"/>
        <pc:sldMkLst>
          <pc:docMk/>
          <pc:sldMk cId="904329360" sldId="11849"/>
        </pc:sldMkLst>
        <pc:spChg chg="mod">
          <ac:chgData name="Sadzida Vrana" userId="S::sadzida.vrana@baywa-re.com::8c32c596-1b4d-4da4-b31a-f796641544b7" providerId="AD" clId="Web-{02DA691F-D7B5-E473-7F6E-7B547E4E16C2}" dt="2024-02-21T12:46:12.671" v="15" actId="20577"/>
          <ac:spMkLst>
            <pc:docMk/>
            <pc:sldMk cId="904329360" sldId="11849"/>
            <ac:spMk id="2" creationId="{9EFD045C-0A12-D241-CD85-1CAD6E9265A8}"/>
          </ac:spMkLst>
        </pc:spChg>
      </pc:sldChg>
      <pc:sldChg chg="modSp add">
        <pc:chgData name="Sadzida Vrana" userId="S::sadzida.vrana@baywa-re.com::8c32c596-1b4d-4da4-b31a-f796641544b7" providerId="AD" clId="Web-{02DA691F-D7B5-E473-7F6E-7B547E4E16C2}" dt="2024-02-21T12:46:27.953" v="21" actId="1076"/>
        <pc:sldMkLst>
          <pc:docMk/>
          <pc:sldMk cId="348045321" sldId="11850"/>
        </pc:sldMkLst>
        <pc:spChg chg="mod">
          <ac:chgData name="Sadzida Vrana" userId="S::sadzida.vrana@baywa-re.com::8c32c596-1b4d-4da4-b31a-f796641544b7" providerId="AD" clId="Web-{02DA691F-D7B5-E473-7F6E-7B547E4E16C2}" dt="2024-02-21T12:46:27.953" v="21" actId="1076"/>
          <ac:spMkLst>
            <pc:docMk/>
            <pc:sldMk cId="348045321" sldId="11850"/>
            <ac:spMk id="3" creationId="{01EFD443-1498-51BA-47AF-10700EACCE8D}"/>
          </ac:spMkLst>
        </pc:spChg>
      </pc:sldChg>
      <pc:sldChg chg="modSp add">
        <pc:chgData name="Sadzida Vrana" userId="S::sadzida.vrana@baywa-re.com::8c32c596-1b4d-4da4-b31a-f796641544b7" providerId="AD" clId="Web-{02DA691F-D7B5-E473-7F6E-7B547E4E16C2}" dt="2024-02-21T12:47:02.016" v="28" actId="1076"/>
        <pc:sldMkLst>
          <pc:docMk/>
          <pc:sldMk cId="1524997882" sldId="11851"/>
        </pc:sldMkLst>
        <pc:spChg chg="mod">
          <ac:chgData name="Sadzida Vrana" userId="S::sadzida.vrana@baywa-re.com::8c32c596-1b4d-4da4-b31a-f796641544b7" providerId="AD" clId="Web-{02DA691F-D7B5-E473-7F6E-7B547E4E16C2}" dt="2024-02-21T12:47:02.016" v="28" actId="1076"/>
          <ac:spMkLst>
            <pc:docMk/>
            <pc:sldMk cId="1524997882" sldId="11851"/>
            <ac:spMk id="3" creationId="{E8717161-45FC-14A3-0252-7C6DEB2E4B9C}"/>
          </ac:spMkLst>
        </pc:spChg>
      </pc:sldChg>
      <pc:sldChg chg="modSp add">
        <pc:chgData name="Sadzida Vrana" userId="S::sadzida.vrana@baywa-re.com::8c32c596-1b4d-4da4-b31a-f796641544b7" providerId="AD" clId="Web-{02DA691F-D7B5-E473-7F6E-7B547E4E16C2}" dt="2024-02-21T12:48:18.738" v="41" actId="1076"/>
        <pc:sldMkLst>
          <pc:docMk/>
          <pc:sldMk cId="1765688161" sldId="11856"/>
        </pc:sldMkLst>
        <pc:spChg chg="mod">
          <ac:chgData name="Sadzida Vrana" userId="S::sadzida.vrana@baywa-re.com::8c32c596-1b4d-4da4-b31a-f796641544b7" providerId="AD" clId="Web-{02DA691F-D7B5-E473-7F6E-7B547E4E16C2}" dt="2024-02-21T12:48:18.738" v="41" actId="1076"/>
          <ac:spMkLst>
            <pc:docMk/>
            <pc:sldMk cId="1765688161" sldId="11856"/>
            <ac:spMk id="3" creationId="{E0A28773-F3AF-20C5-36C2-0DB6BB024CC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>
            <a:extLst>
              <a:ext uri="{FF2B5EF4-FFF2-40B4-BE49-F238E27FC236}">
                <a16:creationId xmlns:a16="http://schemas.microsoft.com/office/drawing/2014/main" id="{D5CDACB8-B374-4985-A591-31FCFDA8273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6672" y="404664"/>
            <a:ext cx="1080000" cy="259818"/>
          </a:xfrm>
          <a:prstGeom prst="rect">
            <a:avLst/>
          </a:prstGeom>
        </p:spPr>
      </p:pic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7BF3E32E-4C92-4F19-BCAE-DDE2DB9105F2}"/>
              </a:ext>
            </a:extLst>
          </p:cNvPr>
          <p:cNvGrpSpPr/>
          <p:nvPr/>
        </p:nvGrpSpPr>
        <p:grpSpPr bwMode="gray">
          <a:xfrm>
            <a:off x="5169892" y="467574"/>
            <a:ext cx="1219160" cy="168219"/>
            <a:chOff x="1124273" y="4252126"/>
            <a:chExt cx="8928101" cy="1231901"/>
          </a:xfrm>
          <a:solidFill>
            <a:schemeClr val="tx1"/>
          </a:solidFill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CFE8AAF9-C56A-4CD3-94ED-C7FCB092267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4273" y="4523589"/>
              <a:ext cx="388938" cy="677863"/>
            </a:xfrm>
            <a:custGeom>
              <a:avLst/>
              <a:gdLst>
                <a:gd name="T0" fmla="*/ 0 w 104"/>
                <a:gd name="T1" fmla="*/ 180 h 180"/>
                <a:gd name="T2" fmla="*/ 0 w 104"/>
                <a:gd name="T3" fmla="*/ 2 h 180"/>
                <a:gd name="T4" fmla="*/ 40 w 104"/>
                <a:gd name="T5" fmla="*/ 2 h 180"/>
                <a:gd name="T6" fmla="*/ 40 w 104"/>
                <a:gd name="T7" fmla="*/ 30 h 180"/>
                <a:gd name="T8" fmla="*/ 89 w 104"/>
                <a:gd name="T9" fmla="*/ 0 h 180"/>
                <a:gd name="T10" fmla="*/ 104 w 104"/>
                <a:gd name="T11" fmla="*/ 2 h 180"/>
                <a:gd name="T12" fmla="*/ 104 w 104"/>
                <a:gd name="T13" fmla="*/ 44 h 180"/>
                <a:gd name="T14" fmla="*/ 84 w 104"/>
                <a:gd name="T15" fmla="*/ 39 h 180"/>
                <a:gd name="T16" fmla="*/ 51 w 104"/>
                <a:gd name="T17" fmla="*/ 57 h 180"/>
                <a:gd name="T18" fmla="*/ 42 w 104"/>
                <a:gd name="T19" fmla="*/ 97 h 180"/>
                <a:gd name="T20" fmla="*/ 42 w 104"/>
                <a:gd name="T21" fmla="*/ 180 h 180"/>
                <a:gd name="T22" fmla="*/ 0 w 104"/>
                <a:gd name="T23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4" h="180">
                  <a:moveTo>
                    <a:pt x="0" y="18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51" y="11"/>
                    <a:pt x="64" y="0"/>
                    <a:pt x="89" y="0"/>
                  </a:cubicBezTo>
                  <a:cubicBezTo>
                    <a:pt x="95" y="0"/>
                    <a:pt x="99" y="1"/>
                    <a:pt x="104" y="2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98" y="41"/>
                    <a:pt x="92" y="39"/>
                    <a:pt x="84" y="39"/>
                  </a:cubicBezTo>
                  <a:cubicBezTo>
                    <a:pt x="70" y="39"/>
                    <a:pt x="59" y="46"/>
                    <a:pt x="51" y="57"/>
                  </a:cubicBezTo>
                  <a:cubicBezTo>
                    <a:pt x="45" y="66"/>
                    <a:pt x="42" y="78"/>
                    <a:pt x="42" y="97"/>
                  </a:cubicBezTo>
                  <a:cubicBezTo>
                    <a:pt x="42" y="180"/>
                    <a:pt x="42" y="180"/>
                    <a:pt x="42" y="180"/>
                  </a:cubicBezTo>
                  <a:lnTo>
                    <a:pt x="0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29" name="Rectangle 6">
              <a:extLst>
                <a:ext uri="{FF2B5EF4-FFF2-40B4-BE49-F238E27FC236}">
                  <a16:creationId xmlns:a16="http://schemas.microsoft.com/office/drawing/2014/main" id="{6B9D48B2-1248-4228-843B-9B10F986476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90998" y="5006189"/>
              <a:ext cx="157163" cy="1952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B98473E9-F729-44C2-924D-D8FAA61A8C7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65636" y="4512476"/>
              <a:ext cx="620713" cy="708025"/>
            </a:xfrm>
            <a:custGeom>
              <a:avLst/>
              <a:gdLst>
                <a:gd name="T0" fmla="*/ 165 w 166"/>
                <a:gd name="T1" fmla="*/ 138 h 188"/>
                <a:gd name="T2" fmla="*/ 88 w 166"/>
                <a:gd name="T3" fmla="*/ 188 h 188"/>
                <a:gd name="T4" fmla="*/ 0 w 166"/>
                <a:gd name="T5" fmla="*/ 92 h 188"/>
                <a:gd name="T6" fmla="*/ 86 w 166"/>
                <a:gd name="T7" fmla="*/ 0 h 188"/>
                <a:gd name="T8" fmla="*/ 166 w 166"/>
                <a:gd name="T9" fmla="*/ 105 h 188"/>
                <a:gd name="T10" fmla="*/ 42 w 166"/>
                <a:gd name="T11" fmla="*/ 105 h 188"/>
                <a:gd name="T12" fmla="*/ 88 w 166"/>
                <a:gd name="T13" fmla="*/ 153 h 188"/>
                <a:gd name="T14" fmla="*/ 128 w 166"/>
                <a:gd name="T15" fmla="*/ 125 h 188"/>
                <a:gd name="T16" fmla="*/ 165 w 166"/>
                <a:gd name="T17" fmla="*/ 138 h 188"/>
                <a:gd name="T18" fmla="*/ 124 w 166"/>
                <a:gd name="T19" fmla="*/ 75 h 188"/>
                <a:gd name="T20" fmla="*/ 85 w 166"/>
                <a:gd name="T21" fmla="*/ 33 h 188"/>
                <a:gd name="T22" fmla="*/ 42 w 166"/>
                <a:gd name="T23" fmla="*/ 75 h 188"/>
                <a:gd name="T24" fmla="*/ 124 w 166"/>
                <a:gd name="T25" fmla="*/ 7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188">
                  <a:moveTo>
                    <a:pt x="165" y="138"/>
                  </a:moveTo>
                  <a:cubicBezTo>
                    <a:pt x="152" y="170"/>
                    <a:pt x="125" y="188"/>
                    <a:pt x="88" y="188"/>
                  </a:cubicBezTo>
                  <a:cubicBezTo>
                    <a:pt x="31" y="188"/>
                    <a:pt x="0" y="151"/>
                    <a:pt x="0" y="92"/>
                  </a:cubicBezTo>
                  <a:cubicBezTo>
                    <a:pt x="0" y="36"/>
                    <a:pt x="34" y="0"/>
                    <a:pt x="86" y="0"/>
                  </a:cubicBezTo>
                  <a:cubicBezTo>
                    <a:pt x="142" y="0"/>
                    <a:pt x="166" y="41"/>
                    <a:pt x="166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4" y="135"/>
                    <a:pt x="60" y="153"/>
                    <a:pt x="88" y="153"/>
                  </a:cubicBezTo>
                  <a:cubicBezTo>
                    <a:pt x="107" y="153"/>
                    <a:pt x="122" y="146"/>
                    <a:pt x="128" y="125"/>
                  </a:cubicBezTo>
                  <a:lnTo>
                    <a:pt x="165" y="138"/>
                  </a:lnTo>
                  <a:close/>
                  <a:moveTo>
                    <a:pt x="124" y="75"/>
                  </a:moveTo>
                  <a:cubicBezTo>
                    <a:pt x="122" y="47"/>
                    <a:pt x="108" y="33"/>
                    <a:pt x="85" y="33"/>
                  </a:cubicBezTo>
                  <a:cubicBezTo>
                    <a:pt x="62" y="33"/>
                    <a:pt x="45" y="47"/>
                    <a:pt x="42" y="75"/>
                  </a:cubicBezTo>
                  <a:lnTo>
                    <a:pt x="124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31" name="Rectangle 8">
              <a:extLst>
                <a:ext uri="{FF2B5EF4-FFF2-40B4-BE49-F238E27FC236}">
                  <a16:creationId xmlns:a16="http://schemas.microsoft.com/office/drawing/2014/main" id="{E034A2FF-57CA-4A1A-84E8-EEEE345B4B3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99061" y="5006189"/>
              <a:ext cx="152400" cy="1952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C4BC84F1-C5AC-4606-A6A9-3576FA36D32E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7186" y="4317214"/>
              <a:ext cx="393700" cy="896938"/>
            </a:xfrm>
            <a:custGeom>
              <a:avLst/>
              <a:gdLst>
                <a:gd name="T0" fmla="*/ 105 w 105"/>
                <a:gd name="T1" fmla="*/ 234 h 238"/>
                <a:gd name="T2" fmla="*/ 74 w 105"/>
                <a:gd name="T3" fmla="*/ 238 h 238"/>
                <a:gd name="T4" fmla="*/ 37 w 105"/>
                <a:gd name="T5" fmla="*/ 225 h 238"/>
                <a:gd name="T6" fmla="*/ 27 w 105"/>
                <a:gd name="T7" fmla="*/ 188 h 238"/>
                <a:gd name="T8" fmla="*/ 27 w 105"/>
                <a:gd name="T9" fmla="*/ 91 h 238"/>
                <a:gd name="T10" fmla="*/ 0 w 105"/>
                <a:gd name="T11" fmla="*/ 91 h 238"/>
                <a:gd name="T12" fmla="*/ 0 w 105"/>
                <a:gd name="T13" fmla="*/ 57 h 238"/>
                <a:gd name="T14" fmla="*/ 28 w 105"/>
                <a:gd name="T15" fmla="*/ 57 h 238"/>
                <a:gd name="T16" fmla="*/ 28 w 105"/>
                <a:gd name="T17" fmla="*/ 0 h 238"/>
                <a:gd name="T18" fmla="*/ 70 w 105"/>
                <a:gd name="T19" fmla="*/ 0 h 238"/>
                <a:gd name="T20" fmla="*/ 70 w 105"/>
                <a:gd name="T21" fmla="*/ 57 h 238"/>
                <a:gd name="T22" fmla="*/ 104 w 105"/>
                <a:gd name="T23" fmla="*/ 57 h 238"/>
                <a:gd name="T24" fmla="*/ 104 w 105"/>
                <a:gd name="T25" fmla="*/ 91 h 238"/>
                <a:gd name="T26" fmla="*/ 70 w 105"/>
                <a:gd name="T27" fmla="*/ 91 h 238"/>
                <a:gd name="T28" fmla="*/ 70 w 105"/>
                <a:gd name="T29" fmla="*/ 180 h 238"/>
                <a:gd name="T30" fmla="*/ 88 w 105"/>
                <a:gd name="T31" fmla="*/ 204 h 238"/>
                <a:gd name="T32" fmla="*/ 105 w 105"/>
                <a:gd name="T33" fmla="*/ 201 h 238"/>
                <a:gd name="T34" fmla="*/ 105 w 105"/>
                <a:gd name="T35" fmla="*/ 23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238">
                  <a:moveTo>
                    <a:pt x="105" y="234"/>
                  </a:moveTo>
                  <a:cubicBezTo>
                    <a:pt x="95" y="236"/>
                    <a:pt x="84" y="238"/>
                    <a:pt x="74" y="238"/>
                  </a:cubicBezTo>
                  <a:cubicBezTo>
                    <a:pt x="56" y="238"/>
                    <a:pt x="45" y="234"/>
                    <a:pt x="37" y="225"/>
                  </a:cubicBezTo>
                  <a:cubicBezTo>
                    <a:pt x="30" y="217"/>
                    <a:pt x="27" y="204"/>
                    <a:pt x="27" y="188"/>
                  </a:cubicBezTo>
                  <a:cubicBezTo>
                    <a:pt x="27" y="91"/>
                    <a:pt x="27" y="91"/>
                    <a:pt x="27" y="9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104" y="57"/>
                    <a:pt x="104" y="57"/>
                    <a:pt x="104" y="57"/>
                  </a:cubicBezTo>
                  <a:cubicBezTo>
                    <a:pt x="104" y="91"/>
                    <a:pt x="104" y="91"/>
                    <a:pt x="104" y="9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0" y="180"/>
                    <a:pt x="70" y="180"/>
                    <a:pt x="70" y="180"/>
                  </a:cubicBezTo>
                  <a:cubicBezTo>
                    <a:pt x="70" y="198"/>
                    <a:pt x="75" y="204"/>
                    <a:pt x="88" y="204"/>
                  </a:cubicBezTo>
                  <a:cubicBezTo>
                    <a:pt x="93" y="204"/>
                    <a:pt x="99" y="203"/>
                    <a:pt x="105" y="201"/>
                  </a:cubicBezTo>
                  <a:lnTo>
                    <a:pt x="105" y="2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A6A1F202-38C2-4F33-8781-070F75AC542C}"/>
                </a:ext>
              </a:extLst>
            </p:cNvPr>
            <p:cNvSpPr>
              <a:spLocks/>
            </p:cNvSpPr>
            <p:nvPr/>
          </p:nvSpPr>
          <p:spPr bwMode="gray">
            <a:xfrm>
              <a:off x="3324548" y="4252126"/>
              <a:ext cx="576263" cy="949325"/>
            </a:xfrm>
            <a:custGeom>
              <a:avLst/>
              <a:gdLst>
                <a:gd name="T0" fmla="*/ 112 w 154"/>
                <a:gd name="T1" fmla="*/ 252 h 252"/>
                <a:gd name="T2" fmla="*/ 112 w 154"/>
                <a:gd name="T3" fmla="*/ 150 h 252"/>
                <a:gd name="T4" fmla="*/ 105 w 154"/>
                <a:gd name="T5" fmla="*/ 118 h 252"/>
                <a:gd name="T6" fmla="*/ 82 w 154"/>
                <a:gd name="T7" fmla="*/ 109 h 252"/>
                <a:gd name="T8" fmla="*/ 52 w 154"/>
                <a:gd name="T9" fmla="*/ 124 h 252"/>
                <a:gd name="T10" fmla="*/ 42 w 154"/>
                <a:gd name="T11" fmla="*/ 166 h 252"/>
                <a:gd name="T12" fmla="*/ 42 w 154"/>
                <a:gd name="T13" fmla="*/ 252 h 252"/>
                <a:gd name="T14" fmla="*/ 0 w 154"/>
                <a:gd name="T15" fmla="*/ 252 h 252"/>
                <a:gd name="T16" fmla="*/ 0 w 154"/>
                <a:gd name="T17" fmla="*/ 0 h 252"/>
                <a:gd name="T18" fmla="*/ 41 w 154"/>
                <a:gd name="T19" fmla="*/ 0 h 252"/>
                <a:gd name="T20" fmla="*/ 41 w 154"/>
                <a:gd name="T21" fmla="*/ 101 h 252"/>
                <a:gd name="T22" fmla="*/ 100 w 154"/>
                <a:gd name="T23" fmla="*/ 71 h 252"/>
                <a:gd name="T24" fmla="*/ 143 w 154"/>
                <a:gd name="T25" fmla="*/ 90 h 252"/>
                <a:gd name="T26" fmla="*/ 154 w 154"/>
                <a:gd name="T27" fmla="*/ 142 h 252"/>
                <a:gd name="T28" fmla="*/ 154 w 154"/>
                <a:gd name="T29" fmla="*/ 252 h 252"/>
                <a:gd name="T30" fmla="*/ 112 w 154"/>
                <a:gd name="T31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4" h="252">
                  <a:moveTo>
                    <a:pt x="112" y="252"/>
                  </a:moveTo>
                  <a:cubicBezTo>
                    <a:pt x="112" y="150"/>
                    <a:pt x="112" y="150"/>
                    <a:pt x="112" y="150"/>
                  </a:cubicBezTo>
                  <a:cubicBezTo>
                    <a:pt x="112" y="135"/>
                    <a:pt x="111" y="125"/>
                    <a:pt x="105" y="118"/>
                  </a:cubicBezTo>
                  <a:cubicBezTo>
                    <a:pt x="100" y="111"/>
                    <a:pt x="93" y="109"/>
                    <a:pt x="82" y="109"/>
                  </a:cubicBezTo>
                  <a:cubicBezTo>
                    <a:pt x="71" y="109"/>
                    <a:pt x="59" y="115"/>
                    <a:pt x="52" y="124"/>
                  </a:cubicBezTo>
                  <a:cubicBezTo>
                    <a:pt x="43" y="136"/>
                    <a:pt x="42" y="149"/>
                    <a:pt x="42" y="16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01"/>
                    <a:pt x="41" y="101"/>
                    <a:pt x="41" y="101"/>
                  </a:cubicBezTo>
                  <a:cubicBezTo>
                    <a:pt x="54" y="83"/>
                    <a:pt x="75" y="71"/>
                    <a:pt x="100" y="71"/>
                  </a:cubicBezTo>
                  <a:cubicBezTo>
                    <a:pt x="121" y="71"/>
                    <a:pt x="134" y="78"/>
                    <a:pt x="143" y="90"/>
                  </a:cubicBezTo>
                  <a:cubicBezTo>
                    <a:pt x="151" y="101"/>
                    <a:pt x="154" y="115"/>
                    <a:pt x="154" y="142"/>
                  </a:cubicBezTo>
                  <a:cubicBezTo>
                    <a:pt x="154" y="252"/>
                    <a:pt x="154" y="252"/>
                    <a:pt x="154" y="252"/>
                  </a:cubicBezTo>
                  <a:lnTo>
                    <a:pt x="112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13B5AD8-B2C6-40E7-8764-F99AFB42004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53211" y="4252126"/>
              <a:ext cx="157163" cy="949325"/>
            </a:xfrm>
            <a:custGeom>
              <a:avLst/>
              <a:gdLst>
                <a:gd name="T0" fmla="*/ 0 w 99"/>
                <a:gd name="T1" fmla="*/ 95 h 598"/>
                <a:gd name="T2" fmla="*/ 0 w 99"/>
                <a:gd name="T3" fmla="*/ 0 h 598"/>
                <a:gd name="T4" fmla="*/ 99 w 99"/>
                <a:gd name="T5" fmla="*/ 0 h 598"/>
                <a:gd name="T6" fmla="*/ 99 w 99"/>
                <a:gd name="T7" fmla="*/ 95 h 598"/>
                <a:gd name="T8" fmla="*/ 0 w 99"/>
                <a:gd name="T9" fmla="*/ 95 h 598"/>
                <a:gd name="T10" fmla="*/ 99 w 99"/>
                <a:gd name="T11" fmla="*/ 598 h 598"/>
                <a:gd name="T12" fmla="*/ 0 w 99"/>
                <a:gd name="T13" fmla="*/ 598 h 598"/>
                <a:gd name="T14" fmla="*/ 0 w 99"/>
                <a:gd name="T15" fmla="*/ 176 h 598"/>
                <a:gd name="T16" fmla="*/ 99 w 99"/>
                <a:gd name="T17" fmla="*/ 176 h 598"/>
                <a:gd name="T18" fmla="*/ 99 w 99"/>
                <a:gd name="T19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598">
                  <a:moveTo>
                    <a:pt x="0" y="95"/>
                  </a:moveTo>
                  <a:lnTo>
                    <a:pt x="0" y="0"/>
                  </a:lnTo>
                  <a:lnTo>
                    <a:pt x="99" y="0"/>
                  </a:lnTo>
                  <a:lnTo>
                    <a:pt x="99" y="95"/>
                  </a:lnTo>
                  <a:lnTo>
                    <a:pt x="0" y="95"/>
                  </a:lnTo>
                  <a:close/>
                  <a:moveTo>
                    <a:pt x="99" y="598"/>
                  </a:moveTo>
                  <a:lnTo>
                    <a:pt x="0" y="598"/>
                  </a:lnTo>
                  <a:lnTo>
                    <a:pt x="0" y="176"/>
                  </a:lnTo>
                  <a:lnTo>
                    <a:pt x="99" y="176"/>
                  </a:lnTo>
                  <a:lnTo>
                    <a:pt x="99" y="5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515E106B-0E0B-4BA6-8A2E-25381F83C28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75473" y="4520414"/>
              <a:ext cx="576263" cy="681038"/>
            </a:xfrm>
            <a:custGeom>
              <a:avLst/>
              <a:gdLst>
                <a:gd name="T0" fmla="*/ 112 w 154"/>
                <a:gd name="T1" fmla="*/ 181 h 181"/>
                <a:gd name="T2" fmla="*/ 112 w 154"/>
                <a:gd name="T3" fmla="*/ 79 h 181"/>
                <a:gd name="T4" fmla="*/ 106 w 154"/>
                <a:gd name="T5" fmla="*/ 48 h 181"/>
                <a:gd name="T6" fmla="*/ 82 w 154"/>
                <a:gd name="T7" fmla="*/ 38 h 181"/>
                <a:gd name="T8" fmla="*/ 52 w 154"/>
                <a:gd name="T9" fmla="*/ 53 h 181"/>
                <a:gd name="T10" fmla="*/ 41 w 154"/>
                <a:gd name="T11" fmla="*/ 95 h 181"/>
                <a:gd name="T12" fmla="*/ 41 w 154"/>
                <a:gd name="T13" fmla="*/ 181 h 181"/>
                <a:gd name="T14" fmla="*/ 0 w 154"/>
                <a:gd name="T15" fmla="*/ 181 h 181"/>
                <a:gd name="T16" fmla="*/ 0 w 154"/>
                <a:gd name="T17" fmla="*/ 3 h 181"/>
                <a:gd name="T18" fmla="*/ 41 w 154"/>
                <a:gd name="T19" fmla="*/ 3 h 181"/>
                <a:gd name="T20" fmla="*/ 41 w 154"/>
                <a:gd name="T21" fmla="*/ 30 h 181"/>
                <a:gd name="T22" fmla="*/ 100 w 154"/>
                <a:gd name="T23" fmla="*/ 0 h 181"/>
                <a:gd name="T24" fmla="*/ 144 w 154"/>
                <a:gd name="T25" fmla="*/ 21 h 181"/>
                <a:gd name="T26" fmla="*/ 154 w 154"/>
                <a:gd name="T27" fmla="*/ 70 h 181"/>
                <a:gd name="T28" fmla="*/ 154 w 154"/>
                <a:gd name="T29" fmla="*/ 181 h 181"/>
                <a:gd name="T30" fmla="*/ 112 w 154"/>
                <a:gd name="T31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4" h="181">
                  <a:moveTo>
                    <a:pt x="112" y="181"/>
                  </a:moveTo>
                  <a:cubicBezTo>
                    <a:pt x="112" y="79"/>
                    <a:pt x="112" y="79"/>
                    <a:pt x="112" y="79"/>
                  </a:cubicBezTo>
                  <a:cubicBezTo>
                    <a:pt x="112" y="65"/>
                    <a:pt x="111" y="55"/>
                    <a:pt x="106" y="48"/>
                  </a:cubicBezTo>
                  <a:cubicBezTo>
                    <a:pt x="101" y="41"/>
                    <a:pt x="93" y="38"/>
                    <a:pt x="82" y="38"/>
                  </a:cubicBezTo>
                  <a:cubicBezTo>
                    <a:pt x="70" y="38"/>
                    <a:pt x="59" y="44"/>
                    <a:pt x="52" y="53"/>
                  </a:cubicBezTo>
                  <a:cubicBezTo>
                    <a:pt x="43" y="65"/>
                    <a:pt x="41" y="78"/>
                    <a:pt x="41" y="95"/>
                  </a:cubicBezTo>
                  <a:cubicBezTo>
                    <a:pt x="41" y="181"/>
                    <a:pt x="41" y="181"/>
                    <a:pt x="41" y="181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54" y="12"/>
                    <a:pt x="75" y="0"/>
                    <a:pt x="100" y="0"/>
                  </a:cubicBezTo>
                  <a:cubicBezTo>
                    <a:pt x="121" y="0"/>
                    <a:pt x="135" y="8"/>
                    <a:pt x="144" y="21"/>
                  </a:cubicBezTo>
                  <a:cubicBezTo>
                    <a:pt x="151" y="32"/>
                    <a:pt x="154" y="46"/>
                    <a:pt x="154" y="70"/>
                  </a:cubicBezTo>
                  <a:cubicBezTo>
                    <a:pt x="154" y="181"/>
                    <a:pt x="154" y="181"/>
                    <a:pt x="154" y="181"/>
                  </a:cubicBezTo>
                  <a:lnTo>
                    <a:pt x="112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922E8197-C860-4F74-A4E8-4396BECF34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05723" y="4252126"/>
              <a:ext cx="617538" cy="949325"/>
            </a:xfrm>
            <a:custGeom>
              <a:avLst/>
              <a:gdLst>
                <a:gd name="T0" fmla="*/ 276 w 389"/>
                <a:gd name="T1" fmla="*/ 598 h 598"/>
                <a:gd name="T2" fmla="*/ 158 w 389"/>
                <a:gd name="T3" fmla="*/ 406 h 598"/>
                <a:gd name="T4" fmla="*/ 97 w 389"/>
                <a:gd name="T5" fmla="*/ 470 h 598"/>
                <a:gd name="T6" fmla="*/ 97 w 389"/>
                <a:gd name="T7" fmla="*/ 598 h 598"/>
                <a:gd name="T8" fmla="*/ 0 w 389"/>
                <a:gd name="T9" fmla="*/ 598 h 598"/>
                <a:gd name="T10" fmla="*/ 0 w 389"/>
                <a:gd name="T11" fmla="*/ 0 h 598"/>
                <a:gd name="T12" fmla="*/ 97 w 389"/>
                <a:gd name="T13" fmla="*/ 0 h 598"/>
                <a:gd name="T14" fmla="*/ 97 w 389"/>
                <a:gd name="T15" fmla="*/ 356 h 598"/>
                <a:gd name="T16" fmla="*/ 257 w 389"/>
                <a:gd name="T17" fmla="*/ 176 h 598"/>
                <a:gd name="T18" fmla="*/ 375 w 389"/>
                <a:gd name="T19" fmla="*/ 176 h 598"/>
                <a:gd name="T20" fmla="*/ 229 w 389"/>
                <a:gd name="T21" fmla="*/ 337 h 598"/>
                <a:gd name="T22" fmla="*/ 389 w 389"/>
                <a:gd name="T23" fmla="*/ 598 h 598"/>
                <a:gd name="T24" fmla="*/ 276 w 389"/>
                <a:gd name="T25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9" h="598">
                  <a:moveTo>
                    <a:pt x="276" y="598"/>
                  </a:moveTo>
                  <a:lnTo>
                    <a:pt x="158" y="406"/>
                  </a:lnTo>
                  <a:lnTo>
                    <a:pt x="97" y="470"/>
                  </a:lnTo>
                  <a:lnTo>
                    <a:pt x="97" y="598"/>
                  </a:lnTo>
                  <a:lnTo>
                    <a:pt x="0" y="598"/>
                  </a:lnTo>
                  <a:lnTo>
                    <a:pt x="0" y="0"/>
                  </a:lnTo>
                  <a:lnTo>
                    <a:pt x="97" y="0"/>
                  </a:lnTo>
                  <a:lnTo>
                    <a:pt x="97" y="356"/>
                  </a:lnTo>
                  <a:lnTo>
                    <a:pt x="257" y="176"/>
                  </a:lnTo>
                  <a:lnTo>
                    <a:pt x="375" y="176"/>
                  </a:lnTo>
                  <a:lnTo>
                    <a:pt x="229" y="337"/>
                  </a:lnTo>
                  <a:lnTo>
                    <a:pt x="389" y="598"/>
                  </a:lnTo>
                  <a:lnTo>
                    <a:pt x="276" y="5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BCA32EB9-D8F6-4355-8A88-D67232231B7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67748" y="4512476"/>
              <a:ext cx="620713" cy="708025"/>
            </a:xfrm>
            <a:custGeom>
              <a:avLst/>
              <a:gdLst>
                <a:gd name="T0" fmla="*/ 165 w 166"/>
                <a:gd name="T1" fmla="*/ 138 h 188"/>
                <a:gd name="T2" fmla="*/ 88 w 166"/>
                <a:gd name="T3" fmla="*/ 188 h 188"/>
                <a:gd name="T4" fmla="*/ 0 w 166"/>
                <a:gd name="T5" fmla="*/ 92 h 188"/>
                <a:gd name="T6" fmla="*/ 86 w 166"/>
                <a:gd name="T7" fmla="*/ 0 h 188"/>
                <a:gd name="T8" fmla="*/ 166 w 166"/>
                <a:gd name="T9" fmla="*/ 105 h 188"/>
                <a:gd name="T10" fmla="*/ 42 w 166"/>
                <a:gd name="T11" fmla="*/ 105 h 188"/>
                <a:gd name="T12" fmla="*/ 89 w 166"/>
                <a:gd name="T13" fmla="*/ 153 h 188"/>
                <a:gd name="T14" fmla="*/ 128 w 166"/>
                <a:gd name="T15" fmla="*/ 125 h 188"/>
                <a:gd name="T16" fmla="*/ 165 w 166"/>
                <a:gd name="T17" fmla="*/ 138 h 188"/>
                <a:gd name="T18" fmla="*/ 124 w 166"/>
                <a:gd name="T19" fmla="*/ 75 h 188"/>
                <a:gd name="T20" fmla="*/ 85 w 166"/>
                <a:gd name="T21" fmla="*/ 33 h 188"/>
                <a:gd name="T22" fmla="*/ 43 w 166"/>
                <a:gd name="T23" fmla="*/ 75 h 188"/>
                <a:gd name="T24" fmla="*/ 124 w 166"/>
                <a:gd name="T25" fmla="*/ 7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188">
                  <a:moveTo>
                    <a:pt x="165" y="138"/>
                  </a:moveTo>
                  <a:cubicBezTo>
                    <a:pt x="152" y="170"/>
                    <a:pt x="125" y="188"/>
                    <a:pt x="88" y="188"/>
                  </a:cubicBezTo>
                  <a:cubicBezTo>
                    <a:pt x="31" y="188"/>
                    <a:pt x="0" y="151"/>
                    <a:pt x="0" y="92"/>
                  </a:cubicBezTo>
                  <a:cubicBezTo>
                    <a:pt x="0" y="36"/>
                    <a:pt x="35" y="0"/>
                    <a:pt x="86" y="0"/>
                  </a:cubicBezTo>
                  <a:cubicBezTo>
                    <a:pt x="142" y="0"/>
                    <a:pt x="166" y="41"/>
                    <a:pt x="166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4" y="135"/>
                    <a:pt x="60" y="153"/>
                    <a:pt x="89" y="153"/>
                  </a:cubicBezTo>
                  <a:cubicBezTo>
                    <a:pt x="107" y="153"/>
                    <a:pt x="122" y="146"/>
                    <a:pt x="128" y="125"/>
                  </a:cubicBezTo>
                  <a:lnTo>
                    <a:pt x="165" y="138"/>
                  </a:lnTo>
                  <a:close/>
                  <a:moveTo>
                    <a:pt x="124" y="75"/>
                  </a:moveTo>
                  <a:cubicBezTo>
                    <a:pt x="122" y="47"/>
                    <a:pt x="108" y="33"/>
                    <a:pt x="85" y="33"/>
                  </a:cubicBezTo>
                  <a:cubicBezTo>
                    <a:pt x="62" y="33"/>
                    <a:pt x="46" y="47"/>
                    <a:pt x="43" y="75"/>
                  </a:cubicBezTo>
                  <a:lnTo>
                    <a:pt x="124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9AD64800-8606-4CD7-A379-293F79AFEFC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07523" y="4520414"/>
              <a:ext cx="581025" cy="681038"/>
            </a:xfrm>
            <a:custGeom>
              <a:avLst/>
              <a:gdLst>
                <a:gd name="T0" fmla="*/ 113 w 155"/>
                <a:gd name="T1" fmla="*/ 181 h 181"/>
                <a:gd name="T2" fmla="*/ 113 w 155"/>
                <a:gd name="T3" fmla="*/ 79 h 181"/>
                <a:gd name="T4" fmla="*/ 107 w 155"/>
                <a:gd name="T5" fmla="*/ 48 h 181"/>
                <a:gd name="T6" fmla="*/ 83 w 155"/>
                <a:gd name="T7" fmla="*/ 38 h 181"/>
                <a:gd name="T8" fmla="*/ 52 w 155"/>
                <a:gd name="T9" fmla="*/ 53 h 181"/>
                <a:gd name="T10" fmla="*/ 42 w 155"/>
                <a:gd name="T11" fmla="*/ 95 h 181"/>
                <a:gd name="T12" fmla="*/ 42 w 155"/>
                <a:gd name="T13" fmla="*/ 181 h 181"/>
                <a:gd name="T14" fmla="*/ 0 w 155"/>
                <a:gd name="T15" fmla="*/ 181 h 181"/>
                <a:gd name="T16" fmla="*/ 0 w 155"/>
                <a:gd name="T17" fmla="*/ 3 h 181"/>
                <a:gd name="T18" fmla="*/ 42 w 155"/>
                <a:gd name="T19" fmla="*/ 3 h 181"/>
                <a:gd name="T20" fmla="*/ 42 w 155"/>
                <a:gd name="T21" fmla="*/ 30 h 181"/>
                <a:gd name="T22" fmla="*/ 100 w 155"/>
                <a:gd name="T23" fmla="*/ 0 h 181"/>
                <a:gd name="T24" fmla="*/ 145 w 155"/>
                <a:gd name="T25" fmla="*/ 21 h 181"/>
                <a:gd name="T26" fmla="*/ 155 w 155"/>
                <a:gd name="T27" fmla="*/ 70 h 181"/>
                <a:gd name="T28" fmla="*/ 155 w 155"/>
                <a:gd name="T29" fmla="*/ 181 h 181"/>
                <a:gd name="T30" fmla="*/ 113 w 155"/>
                <a:gd name="T31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5" h="181">
                  <a:moveTo>
                    <a:pt x="113" y="181"/>
                  </a:moveTo>
                  <a:cubicBezTo>
                    <a:pt x="113" y="79"/>
                    <a:pt x="113" y="79"/>
                    <a:pt x="113" y="79"/>
                  </a:cubicBezTo>
                  <a:cubicBezTo>
                    <a:pt x="113" y="65"/>
                    <a:pt x="111" y="55"/>
                    <a:pt x="107" y="48"/>
                  </a:cubicBezTo>
                  <a:cubicBezTo>
                    <a:pt x="102" y="41"/>
                    <a:pt x="94" y="38"/>
                    <a:pt x="83" y="38"/>
                  </a:cubicBezTo>
                  <a:cubicBezTo>
                    <a:pt x="71" y="38"/>
                    <a:pt x="60" y="44"/>
                    <a:pt x="52" y="53"/>
                  </a:cubicBezTo>
                  <a:cubicBezTo>
                    <a:pt x="44" y="65"/>
                    <a:pt x="42" y="78"/>
                    <a:pt x="42" y="95"/>
                  </a:cubicBezTo>
                  <a:cubicBezTo>
                    <a:pt x="42" y="181"/>
                    <a:pt x="42" y="181"/>
                    <a:pt x="42" y="181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55" y="12"/>
                    <a:pt x="76" y="0"/>
                    <a:pt x="100" y="0"/>
                  </a:cubicBezTo>
                  <a:cubicBezTo>
                    <a:pt x="122" y="0"/>
                    <a:pt x="136" y="8"/>
                    <a:pt x="145" y="21"/>
                  </a:cubicBezTo>
                  <a:cubicBezTo>
                    <a:pt x="152" y="32"/>
                    <a:pt x="155" y="46"/>
                    <a:pt x="155" y="70"/>
                  </a:cubicBezTo>
                  <a:cubicBezTo>
                    <a:pt x="155" y="181"/>
                    <a:pt x="155" y="181"/>
                    <a:pt x="155" y="181"/>
                  </a:cubicBezTo>
                  <a:lnTo>
                    <a:pt x="113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3D7FA838-EC23-49DE-8030-BE3BA2B7A8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04436" y="4512476"/>
              <a:ext cx="620713" cy="708025"/>
            </a:xfrm>
            <a:custGeom>
              <a:avLst/>
              <a:gdLst>
                <a:gd name="T0" fmla="*/ 165 w 166"/>
                <a:gd name="T1" fmla="*/ 138 h 188"/>
                <a:gd name="T2" fmla="*/ 88 w 166"/>
                <a:gd name="T3" fmla="*/ 188 h 188"/>
                <a:gd name="T4" fmla="*/ 0 w 166"/>
                <a:gd name="T5" fmla="*/ 92 h 188"/>
                <a:gd name="T6" fmla="*/ 86 w 166"/>
                <a:gd name="T7" fmla="*/ 0 h 188"/>
                <a:gd name="T8" fmla="*/ 166 w 166"/>
                <a:gd name="T9" fmla="*/ 105 h 188"/>
                <a:gd name="T10" fmla="*/ 42 w 166"/>
                <a:gd name="T11" fmla="*/ 105 h 188"/>
                <a:gd name="T12" fmla="*/ 88 w 166"/>
                <a:gd name="T13" fmla="*/ 153 h 188"/>
                <a:gd name="T14" fmla="*/ 128 w 166"/>
                <a:gd name="T15" fmla="*/ 125 h 188"/>
                <a:gd name="T16" fmla="*/ 165 w 166"/>
                <a:gd name="T17" fmla="*/ 138 h 188"/>
                <a:gd name="T18" fmla="*/ 124 w 166"/>
                <a:gd name="T19" fmla="*/ 75 h 188"/>
                <a:gd name="T20" fmla="*/ 85 w 166"/>
                <a:gd name="T21" fmla="*/ 33 h 188"/>
                <a:gd name="T22" fmla="*/ 42 w 166"/>
                <a:gd name="T23" fmla="*/ 75 h 188"/>
                <a:gd name="T24" fmla="*/ 124 w 166"/>
                <a:gd name="T25" fmla="*/ 7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188">
                  <a:moveTo>
                    <a:pt x="165" y="138"/>
                  </a:moveTo>
                  <a:cubicBezTo>
                    <a:pt x="152" y="170"/>
                    <a:pt x="125" y="188"/>
                    <a:pt x="88" y="188"/>
                  </a:cubicBezTo>
                  <a:cubicBezTo>
                    <a:pt x="31" y="188"/>
                    <a:pt x="0" y="151"/>
                    <a:pt x="0" y="92"/>
                  </a:cubicBezTo>
                  <a:cubicBezTo>
                    <a:pt x="0" y="36"/>
                    <a:pt x="34" y="0"/>
                    <a:pt x="86" y="0"/>
                  </a:cubicBezTo>
                  <a:cubicBezTo>
                    <a:pt x="142" y="0"/>
                    <a:pt x="166" y="41"/>
                    <a:pt x="166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4" y="135"/>
                    <a:pt x="60" y="153"/>
                    <a:pt x="88" y="153"/>
                  </a:cubicBezTo>
                  <a:cubicBezTo>
                    <a:pt x="107" y="153"/>
                    <a:pt x="122" y="146"/>
                    <a:pt x="128" y="125"/>
                  </a:cubicBezTo>
                  <a:lnTo>
                    <a:pt x="165" y="138"/>
                  </a:lnTo>
                  <a:close/>
                  <a:moveTo>
                    <a:pt x="124" y="75"/>
                  </a:moveTo>
                  <a:cubicBezTo>
                    <a:pt x="122" y="47"/>
                    <a:pt x="108" y="33"/>
                    <a:pt x="85" y="33"/>
                  </a:cubicBezTo>
                  <a:cubicBezTo>
                    <a:pt x="62" y="33"/>
                    <a:pt x="45" y="47"/>
                    <a:pt x="42" y="75"/>
                  </a:cubicBezTo>
                  <a:lnTo>
                    <a:pt x="124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405F1083-048A-41C5-ACB4-E7D19A58DC5A}"/>
                </a:ext>
              </a:extLst>
            </p:cNvPr>
            <p:cNvSpPr>
              <a:spLocks/>
            </p:cNvSpPr>
            <p:nvPr/>
          </p:nvSpPr>
          <p:spPr bwMode="gray">
            <a:xfrm>
              <a:off x="8244211" y="4523589"/>
              <a:ext cx="393700" cy="677863"/>
            </a:xfrm>
            <a:custGeom>
              <a:avLst/>
              <a:gdLst>
                <a:gd name="T0" fmla="*/ 0 w 105"/>
                <a:gd name="T1" fmla="*/ 180 h 180"/>
                <a:gd name="T2" fmla="*/ 0 w 105"/>
                <a:gd name="T3" fmla="*/ 2 h 180"/>
                <a:gd name="T4" fmla="*/ 40 w 105"/>
                <a:gd name="T5" fmla="*/ 2 h 180"/>
                <a:gd name="T6" fmla="*/ 40 w 105"/>
                <a:gd name="T7" fmla="*/ 30 h 180"/>
                <a:gd name="T8" fmla="*/ 89 w 105"/>
                <a:gd name="T9" fmla="*/ 0 h 180"/>
                <a:gd name="T10" fmla="*/ 105 w 105"/>
                <a:gd name="T11" fmla="*/ 2 h 180"/>
                <a:gd name="T12" fmla="*/ 105 w 105"/>
                <a:gd name="T13" fmla="*/ 44 h 180"/>
                <a:gd name="T14" fmla="*/ 85 w 105"/>
                <a:gd name="T15" fmla="*/ 39 h 180"/>
                <a:gd name="T16" fmla="*/ 51 w 105"/>
                <a:gd name="T17" fmla="*/ 57 h 180"/>
                <a:gd name="T18" fmla="*/ 42 w 105"/>
                <a:gd name="T19" fmla="*/ 97 h 180"/>
                <a:gd name="T20" fmla="*/ 42 w 105"/>
                <a:gd name="T21" fmla="*/ 180 h 180"/>
                <a:gd name="T22" fmla="*/ 0 w 105"/>
                <a:gd name="T23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80">
                  <a:moveTo>
                    <a:pt x="0" y="18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51" y="11"/>
                    <a:pt x="65" y="0"/>
                    <a:pt x="89" y="0"/>
                  </a:cubicBezTo>
                  <a:cubicBezTo>
                    <a:pt x="95" y="0"/>
                    <a:pt x="99" y="1"/>
                    <a:pt x="105" y="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98" y="41"/>
                    <a:pt x="92" y="39"/>
                    <a:pt x="85" y="39"/>
                  </a:cubicBezTo>
                  <a:cubicBezTo>
                    <a:pt x="71" y="39"/>
                    <a:pt x="59" y="46"/>
                    <a:pt x="51" y="57"/>
                  </a:cubicBezTo>
                  <a:cubicBezTo>
                    <a:pt x="45" y="66"/>
                    <a:pt x="42" y="78"/>
                    <a:pt x="42" y="97"/>
                  </a:cubicBezTo>
                  <a:cubicBezTo>
                    <a:pt x="42" y="180"/>
                    <a:pt x="42" y="180"/>
                    <a:pt x="42" y="180"/>
                  </a:cubicBezTo>
                  <a:lnTo>
                    <a:pt x="0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41" name="Freeform 18">
              <a:extLst>
                <a:ext uri="{FF2B5EF4-FFF2-40B4-BE49-F238E27FC236}">
                  <a16:creationId xmlns:a16="http://schemas.microsoft.com/office/drawing/2014/main" id="{CBA2FBAA-DA29-477B-A497-6B7E14A412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687123" y="4523589"/>
              <a:ext cx="623888" cy="960438"/>
            </a:xfrm>
            <a:custGeom>
              <a:avLst/>
              <a:gdLst>
                <a:gd name="T0" fmla="*/ 124 w 167"/>
                <a:gd name="T1" fmla="*/ 155 h 255"/>
                <a:gd name="T2" fmla="*/ 71 w 167"/>
                <a:gd name="T3" fmla="*/ 178 h 255"/>
                <a:gd name="T4" fmla="*/ 0 w 167"/>
                <a:gd name="T5" fmla="*/ 89 h 255"/>
                <a:gd name="T6" fmla="*/ 74 w 167"/>
                <a:gd name="T7" fmla="*/ 0 h 255"/>
                <a:gd name="T8" fmla="*/ 126 w 167"/>
                <a:gd name="T9" fmla="*/ 25 h 255"/>
                <a:gd name="T10" fmla="*/ 126 w 167"/>
                <a:gd name="T11" fmla="*/ 3 h 255"/>
                <a:gd name="T12" fmla="*/ 167 w 167"/>
                <a:gd name="T13" fmla="*/ 3 h 255"/>
                <a:gd name="T14" fmla="*/ 167 w 167"/>
                <a:gd name="T15" fmla="*/ 168 h 255"/>
                <a:gd name="T16" fmla="*/ 139 w 167"/>
                <a:gd name="T17" fmla="*/ 241 h 255"/>
                <a:gd name="T18" fmla="*/ 83 w 167"/>
                <a:gd name="T19" fmla="*/ 255 h 255"/>
                <a:gd name="T20" fmla="*/ 4 w 167"/>
                <a:gd name="T21" fmla="*/ 200 h 255"/>
                <a:gd name="T22" fmla="*/ 48 w 167"/>
                <a:gd name="T23" fmla="*/ 192 h 255"/>
                <a:gd name="T24" fmla="*/ 84 w 167"/>
                <a:gd name="T25" fmla="*/ 221 h 255"/>
                <a:gd name="T26" fmla="*/ 117 w 167"/>
                <a:gd name="T27" fmla="*/ 206 h 255"/>
                <a:gd name="T28" fmla="*/ 124 w 167"/>
                <a:gd name="T29" fmla="*/ 172 h 255"/>
                <a:gd name="T30" fmla="*/ 124 w 167"/>
                <a:gd name="T31" fmla="*/ 155 h 255"/>
                <a:gd name="T32" fmla="*/ 86 w 167"/>
                <a:gd name="T33" fmla="*/ 34 h 255"/>
                <a:gd name="T34" fmla="*/ 43 w 167"/>
                <a:gd name="T35" fmla="*/ 89 h 255"/>
                <a:gd name="T36" fmla="*/ 85 w 167"/>
                <a:gd name="T37" fmla="*/ 145 h 255"/>
                <a:gd name="T38" fmla="*/ 125 w 167"/>
                <a:gd name="T39" fmla="*/ 93 h 255"/>
                <a:gd name="T40" fmla="*/ 86 w 167"/>
                <a:gd name="T41" fmla="*/ 34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7" h="255">
                  <a:moveTo>
                    <a:pt x="124" y="155"/>
                  </a:moveTo>
                  <a:cubicBezTo>
                    <a:pt x="111" y="170"/>
                    <a:pt x="94" y="178"/>
                    <a:pt x="71" y="178"/>
                  </a:cubicBezTo>
                  <a:cubicBezTo>
                    <a:pt x="28" y="178"/>
                    <a:pt x="0" y="145"/>
                    <a:pt x="0" y="89"/>
                  </a:cubicBezTo>
                  <a:cubicBezTo>
                    <a:pt x="0" y="33"/>
                    <a:pt x="30" y="0"/>
                    <a:pt x="74" y="0"/>
                  </a:cubicBezTo>
                  <a:cubicBezTo>
                    <a:pt x="99" y="0"/>
                    <a:pt x="116" y="8"/>
                    <a:pt x="126" y="25"/>
                  </a:cubicBezTo>
                  <a:cubicBezTo>
                    <a:pt x="126" y="3"/>
                    <a:pt x="126" y="3"/>
                    <a:pt x="126" y="3"/>
                  </a:cubicBezTo>
                  <a:cubicBezTo>
                    <a:pt x="167" y="3"/>
                    <a:pt x="167" y="3"/>
                    <a:pt x="167" y="3"/>
                  </a:cubicBezTo>
                  <a:cubicBezTo>
                    <a:pt x="167" y="168"/>
                    <a:pt x="167" y="168"/>
                    <a:pt x="167" y="168"/>
                  </a:cubicBezTo>
                  <a:cubicBezTo>
                    <a:pt x="167" y="205"/>
                    <a:pt x="158" y="228"/>
                    <a:pt x="139" y="241"/>
                  </a:cubicBezTo>
                  <a:cubicBezTo>
                    <a:pt x="126" y="251"/>
                    <a:pt x="105" y="255"/>
                    <a:pt x="83" y="255"/>
                  </a:cubicBezTo>
                  <a:cubicBezTo>
                    <a:pt x="39" y="255"/>
                    <a:pt x="12" y="236"/>
                    <a:pt x="4" y="200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51" y="211"/>
                    <a:pt x="64" y="221"/>
                    <a:pt x="84" y="221"/>
                  </a:cubicBezTo>
                  <a:cubicBezTo>
                    <a:pt x="101" y="221"/>
                    <a:pt x="111" y="216"/>
                    <a:pt x="117" y="206"/>
                  </a:cubicBezTo>
                  <a:cubicBezTo>
                    <a:pt x="122" y="199"/>
                    <a:pt x="124" y="187"/>
                    <a:pt x="124" y="172"/>
                  </a:cubicBezTo>
                  <a:lnTo>
                    <a:pt x="124" y="155"/>
                  </a:lnTo>
                  <a:close/>
                  <a:moveTo>
                    <a:pt x="86" y="34"/>
                  </a:moveTo>
                  <a:cubicBezTo>
                    <a:pt x="60" y="34"/>
                    <a:pt x="43" y="54"/>
                    <a:pt x="43" y="89"/>
                  </a:cubicBezTo>
                  <a:cubicBezTo>
                    <a:pt x="43" y="125"/>
                    <a:pt x="59" y="145"/>
                    <a:pt x="85" y="145"/>
                  </a:cubicBezTo>
                  <a:cubicBezTo>
                    <a:pt x="109" y="145"/>
                    <a:pt x="124" y="128"/>
                    <a:pt x="125" y="93"/>
                  </a:cubicBezTo>
                  <a:cubicBezTo>
                    <a:pt x="125" y="56"/>
                    <a:pt x="112" y="34"/>
                    <a:pt x="86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id="{F931C3AA-0A01-438C-8EAE-DA3C83C67DAB}"/>
                </a:ext>
              </a:extLst>
            </p:cNvPr>
            <p:cNvSpPr>
              <a:spLocks/>
            </p:cNvSpPr>
            <p:nvPr/>
          </p:nvSpPr>
          <p:spPr bwMode="gray">
            <a:xfrm>
              <a:off x="9390386" y="4531526"/>
              <a:ext cx="661988" cy="952500"/>
            </a:xfrm>
            <a:custGeom>
              <a:avLst/>
              <a:gdLst>
                <a:gd name="T0" fmla="*/ 69 w 177"/>
                <a:gd name="T1" fmla="*/ 181 h 253"/>
                <a:gd name="T2" fmla="*/ 0 w 177"/>
                <a:gd name="T3" fmla="*/ 0 h 253"/>
                <a:gd name="T4" fmla="*/ 47 w 177"/>
                <a:gd name="T5" fmla="*/ 0 h 253"/>
                <a:gd name="T6" fmla="*/ 92 w 177"/>
                <a:gd name="T7" fmla="*/ 133 h 253"/>
                <a:gd name="T8" fmla="*/ 133 w 177"/>
                <a:gd name="T9" fmla="*/ 0 h 253"/>
                <a:gd name="T10" fmla="*/ 177 w 177"/>
                <a:gd name="T11" fmla="*/ 0 h 253"/>
                <a:gd name="T12" fmla="*/ 114 w 177"/>
                <a:gd name="T13" fmla="*/ 178 h 253"/>
                <a:gd name="T14" fmla="*/ 38 w 177"/>
                <a:gd name="T15" fmla="*/ 253 h 253"/>
                <a:gd name="T16" fmla="*/ 17 w 177"/>
                <a:gd name="T17" fmla="*/ 251 h 253"/>
                <a:gd name="T18" fmla="*/ 17 w 177"/>
                <a:gd name="T19" fmla="*/ 215 h 253"/>
                <a:gd name="T20" fmla="*/ 33 w 177"/>
                <a:gd name="T21" fmla="*/ 218 h 253"/>
                <a:gd name="T22" fmla="*/ 66 w 177"/>
                <a:gd name="T23" fmla="*/ 189 h 253"/>
                <a:gd name="T24" fmla="*/ 69 w 177"/>
                <a:gd name="T25" fmla="*/ 18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" h="253">
                  <a:moveTo>
                    <a:pt x="69" y="18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65" y="51"/>
                    <a:pt x="80" y="96"/>
                    <a:pt x="92" y="133"/>
                  </a:cubicBezTo>
                  <a:cubicBezTo>
                    <a:pt x="103" y="97"/>
                    <a:pt x="117" y="49"/>
                    <a:pt x="133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93" y="238"/>
                    <a:pt x="81" y="253"/>
                    <a:pt x="38" y="253"/>
                  </a:cubicBezTo>
                  <a:cubicBezTo>
                    <a:pt x="31" y="253"/>
                    <a:pt x="23" y="252"/>
                    <a:pt x="17" y="251"/>
                  </a:cubicBezTo>
                  <a:cubicBezTo>
                    <a:pt x="17" y="215"/>
                    <a:pt x="17" y="215"/>
                    <a:pt x="17" y="215"/>
                  </a:cubicBezTo>
                  <a:cubicBezTo>
                    <a:pt x="22" y="217"/>
                    <a:pt x="29" y="218"/>
                    <a:pt x="33" y="218"/>
                  </a:cubicBezTo>
                  <a:cubicBezTo>
                    <a:pt x="51" y="218"/>
                    <a:pt x="58" y="213"/>
                    <a:pt x="66" y="189"/>
                  </a:cubicBezTo>
                  <a:lnTo>
                    <a:pt x="69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</p:grpSp>
      <p:sp>
        <p:nvSpPr>
          <p:cNvPr id="46" name="Foliennummernplatzhalter 5">
            <a:extLst>
              <a:ext uri="{FF2B5EF4-FFF2-40B4-BE49-F238E27FC236}">
                <a16:creationId xmlns:a16="http://schemas.microsoft.com/office/drawing/2014/main" id="{8B4E85E4-9722-4197-86B6-8E5C50EBC2B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gray">
          <a:xfrm>
            <a:off x="6165328" y="8748464"/>
            <a:ext cx="216000" cy="180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lnSpc>
                <a:spcPct val="100000"/>
              </a:lnSpc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140A39-527A-45CF-A911-B921024B9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7" name="Fußzeilenplatzhalter 3">
            <a:extLst>
              <a:ext uri="{FF2B5EF4-FFF2-40B4-BE49-F238E27FC236}">
                <a16:creationId xmlns:a16="http://schemas.microsoft.com/office/drawing/2014/main" id="{E2280DE1-96B0-4127-9CB2-36782C7ADDE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gray">
          <a:xfrm>
            <a:off x="692695" y="8748464"/>
            <a:ext cx="52200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/>
              <a:t>BayWa r.e. Master 2020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133B057C-DB01-4E42-AD94-197DA1AA3D3E}"/>
              </a:ext>
            </a:extLst>
          </p:cNvPr>
          <p:cNvSpPr/>
          <p:nvPr/>
        </p:nvSpPr>
        <p:spPr bwMode="gray">
          <a:xfrm>
            <a:off x="6041827" y="8807522"/>
            <a:ext cx="61885" cy="6188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153056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1" pos="4021" userDrawn="1">
          <p15:clr>
            <a:srgbClr val="F26B43"/>
          </p15:clr>
        </p15:guide>
        <p15:guide id="2" pos="302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6672" y="967099"/>
            <a:ext cx="2952328" cy="166068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76672" y="3084110"/>
            <a:ext cx="5904656" cy="5472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38B6C4C-249D-489C-B937-C97BB49B5D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476672" y="404664"/>
            <a:ext cx="1080000" cy="259818"/>
          </a:xfrm>
          <a:prstGeom prst="rect">
            <a:avLst/>
          </a:prstGeom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6E3A3D6-E7A7-491D-9591-15ECC4506D41}"/>
              </a:ext>
            </a:extLst>
          </p:cNvPr>
          <p:cNvGrpSpPr/>
          <p:nvPr/>
        </p:nvGrpSpPr>
        <p:grpSpPr bwMode="gray">
          <a:xfrm>
            <a:off x="5169892" y="467574"/>
            <a:ext cx="1219160" cy="168219"/>
            <a:chOff x="1124273" y="4252126"/>
            <a:chExt cx="8928101" cy="1231901"/>
          </a:xfrm>
          <a:solidFill>
            <a:schemeClr val="tx1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B8BA0361-36EC-429B-BA3A-BB4537D85C72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4273" y="4523589"/>
              <a:ext cx="388938" cy="677863"/>
            </a:xfrm>
            <a:custGeom>
              <a:avLst/>
              <a:gdLst>
                <a:gd name="T0" fmla="*/ 0 w 104"/>
                <a:gd name="T1" fmla="*/ 180 h 180"/>
                <a:gd name="T2" fmla="*/ 0 w 104"/>
                <a:gd name="T3" fmla="*/ 2 h 180"/>
                <a:gd name="T4" fmla="*/ 40 w 104"/>
                <a:gd name="T5" fmla="*/ 2 h 180"/>
                <a:gd name="T6" fmla="*/ 40 w 104"/>
                <a:gd name="T7" fmla="*/ 30 h 180"/>
                <a:gd name="T8" fmla="*/ 89 w 104"/>
                <a:gd name="T9" fmla="*/ 0 h 180"/>
                <a:gd name="T10" fmla="*/ 104 w 104"/>
                <a:gd name="T11" fmla="*/ 2 h 180"/>
                <a:gd name="T12" fmla="*/ 104 w 104"/>
                <a:gd name="T13" fmla="*/ 44 h 180"/>
                <a:gd name="T14" fmla="*/ 84 w 104"/>
                <a:gd name="T15" fmla="*/ 39 h 180"/>
                <a:gd name="T16" fmla="*/ 51 w 104"/>
                <a:gd name="T17" fmla="*/ 57 h 180"/>
                <a:gd name="T18" fmla="*/ 42 w 104"/>
                <a:gd name="T19" fmla="*/ 97 h 180"/>
                <a:gd name="T20" fmla="*/ 42 w 104"/>
                <a:gd name="T21" fmla="*/ 180 h 180"/>
                <a:gd name="T22" fmla="*/ 0 w 104"/>
                <a:gd name="T23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4" h="180">
                  <a:moveTo>
                    <a:pt x="0" y="18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51" y="11"/>
                    <a:pt x="64" y="0"/>
                    <a:pt x="89" y="0"/>
                  </a:cubicBezTo>
                  <a:cubicBezTo>
                    <a:pt x="95" y="0"/>
                    <a:pt x="99" y="1"/>
                    <a:pt x="104" y="2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98" y="41"/>
                    <a:pt x="92" y="39"/>
                    <a:pt x="84" y="39"/>
                  </a:cubicBezTo>
                  <a:cubicBezTo>
                    <a:pt x="70" y="39"/>
                    <a:pt x="59" y="46"/>
                    <a:pt x="51" y="57"/>
                  </a:cubicBezTo>
                  <a:cubicBezTo>
                    <a:pt x="45" y="66"/>
                    <a:pt x="42" y="78"/>
                    <a:pt x="42" y="97"/>
                  </a:cubicBezTo>
                  <a:cubicBezTo>
                    <a:pt x="42" y="180"/>
                    <a:pt x="42" y="180"/>
                    <a:pt x="42" y="180"/>
                  </a:cubicBezTo>
                  <a:lnTo>
                    <a:pt x="0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14" name="Rectangle 6">
              <a:extLst>
                <a:ext uri="{FF2B5EF4-FFF2-40B4-BE49-F238E27FC236}">
                  <a16:creationId xmlns:a16="http://schemas.microsoft.com/office/drawing/2014/main" id="{FCB0E943-5E2C-4DB9-BDE7-63572207529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90998" y="5006189"/>
              <a:ext cx="157163" cy="1952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23CB2E9E-942B-403A-9218-6E555D46D5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65636" y="4512476"/>
              <a:ext cx="620713" cy="708025"/>
            </a:xfrm>
            <a:custGeom>
              <a:avLst/>
              <a:gdLst>
                <a:gd name="T0" fmla="*/ 165 w 166"/>
                <a:gd name="T1" fmla="*/ 138 h 188"/>
                <a:gd name="T2" fmla="*/ 88 w 166"/>
                <a:gd name="T3" fmla="*/ 188 h 188"/>
                <a:gd name="T4" fmla="*/ 0 w 166"/>
                <a:gd name="T5" fmla="*/ 92 h 188"/>
                <a:gd name="T6" fmla="*/ 86 w 166"/>
                <a:gd name="T7" fmla="*/ 0 h 188"/>
                <a:gd name="T8" fmla="*/ 166 w 166"/>
                <a:gd name="T9" fmla="*/ 105 h 188"/>
                <a:gd name="T10" fmla="*/ 42 w 166"/>
                <a:gd name="T11" fmla="*/ 105 h 188"/>
                <a:gd name="T12" fmla="*/ 88 w 166"/>
                <a:gd name="T13" fmla="*/ 153 h 188"/>
                <a:gd name="T14" fmla="*/ 128 w 166"/>
                <a:gd name="T15" fmla="*/ 125 h 188"/>
                <a:gd name="T16" fmla="*/ 165 w 166"/>
                <a:gd name="T17" fmla="*/ 138 h 188"/>
                <a:gd name="T18" fmla="*/ 124 w 166"/>
                <a:gd name="T19" fmla="*/ 75 h 188"/>
                <a:gd name="T20" fmla="*/ 85 w 166"/>
                <a:gd name="T21" fmla="*/ 33 h 188"/>
                <a:gd name="T22" fmla="*/ 42 w 166"/>
                <a:gd name="T23" fmla="*/ 75 h 188"/>
                <a:gd name="T24" fmla="*/ 124 w 166"/>
                <a:gd name="T25" fmla="*/ 7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188">
                  <a:moveTo>
                    <a:pt x="165" y="138"/>
                  </a:moveTo>
                  <a:cubicBezTo>
                    <a:pt x="152" y="170"/>
                    <a:pt x="125" y="188"/>
                    <a:pt x="88" y="188"/>
                  </a:cubicBezTo>
                  <a:cubicBezTo>
                    <a:pt x="31" y="188"/>
                    <a:pt x="0" y="151"/>
                    <a:pt x="0" y="92"/>
                  </a:cubicBezTo>
                  <a:cubicBezTo>
                    <a:pt x="0" y="36"/>
                    <a:pt x="34" y="0"/>
                    <a:pt x="86" y="0"/>
                  </a:cubicBezTo>
                  <a:cubicBezTo>
                    <a:pt x="142" y="0"/>
                    <a:pt x="166" y="41"/>
                    <a:pt x="166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4" y="135"/>
                    <a:pt x="60" y="153"/>
                    <a:pt x="88" y="153"/>
                  </a:cubicBezTo>
                  <a:cubicBezTo>
                    <a:pt x="107" y="153"/>
                    <a:pt x="122" y="146"/>
                    <a:pt x="128" y="125"/>
                  </a:cubicBezTo>
                  <a:lnTo>
                    <a:pt x="165" y="138"/>
                  </a:lnTo>
                  <a:close/>
                  <a:moveTo>
                    <a:pt x="124" y="75"/>
                  </a:moveTo>
                  <a:cubicBezTo>
                    <a:pt x="122" y="47"/>
                    <a:pt x="108" y="33"/>
                    <a:pt x="85" y="33"/>
                  </a:cubicBezTo>
                  <a:cubicBezTo>
                    <a:pt x="62" y="33"/>
                    <a:pt x="45" y="47"/>
                    <a:pt x="42" y="75"/>
                  </a:cubicBezTo>
                  <a:lnTo>
                    <a:pt x="124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16" name="Rectangle 8">
              <a:extLst>
                <a:ext uri="{FF2B5EF4-FFF2-40B4-BE49-F238E27FC236}">
                  <a16:creationId xmlns:a16="http://schemas.microsoft.com/office/drawing/2014/main" id="{8E9E251B-7DEE-41AE-B2D5-CB87BD936EC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99061" y="5006189"/>
              <a:ext cx="152400" cy="1952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218BABC0-86CE-45C3-BA81-24A64A92418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7186" y="4317214"/>
              <a:ext cx="393700" cy="896938"/>
            </a:xfrm>
            <a:custGeom>
              <a:avLst/>
              <a:gdLst>
                <a:gd name="T0" fmla="*/ 105 w 105"/>
                <a:gd name="T1" fmla="*/ 234 h 238"/>
                <a:gd name="T2" fmla="*/ 74 w 105"/>
                <a:gd name="T3" fmla="*/ 238 h 238"/>
                <a:gd name="T4" fmla="*/ 37 w 105"/>
                <a:gd name="T5" fmla="*/ 225 h 238"/>
                <a:gd name="T6" fmla="*/ 27 w 105"/>
                <a:gd name="T7" fmla="*/ 188 h 238"/>
                <a:gd name="T8" fmla="*/ 27 w 105"/>
                <a:gd name="T9" fmla="*/ 91 h 238"/>
                <a:gd name="T10" fmla="*/ 0 w 105"/>
                <a:gd name="T11" fmla="*/ 91 h 238"/>
                <a:gd name="T12" fmla="*/ 0 w 105"/>
                <a:gd name="T13" fmla="*/ 57 h 238"/>
                <a:gd name="T14" fmla="*/ 28 w 105"/>
                <a:gd name="T15" fmla="*/ 57 h 238"/>
                <a:gd name="T16" fmla="*/ 28 w 105"/>
                <a:gd name="T17" fmla="*/ 0 h 238"/>
                <a:gd name="T18" fmla="*/ 70 w 105"/>
                <a:gd name="T19" fmla="*/ 0 h 238"/>
                <a:gd name="T20" fmla="*/ 70 w 105"/>
                <a:gd name="T21" fmla="*/ 57 h 238"/>
                <a:gd name="T22" fmla="*/ 104 w 105"/>
                <a:gd name="T23" fmla="*/ 57 h 238"/>
                <a:gd name="T24" fmla="*/ 104 w 105"/>
                <a:gd name="T25" fmla="*/ 91 h 238"/>
                <a:gd name="T26" fmla="*/ 70 w 105"/>
                <a:gd name="T27" fmla="*/ 91 h 238"/>
                <a:gd name="T28" fmla="*/ 70 w 105"/>
                <a:gd name="T29" fmla="*/ 180 h 238"/>
                <a:gd name="T30" fmla="*/ 88 w 105"/>
                <a:gd name="T31" fmla="*/ 204 h 238"/>
                <a:gd name="T32" fmla="*/ 105 w 105"/>
                <a:gd name="T33" fmla="*/ 201 h 238"/>
                <a:gd name="T34" fmla="*/ 105 w 105"/>
                <a:gd name="T35" fmla="*/ 23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238">
                  <a:moveTo>
                    <a:pt x="105" y="234"/>
                  </a:moveTo>
                  <a:cubicBezTo>
                    <a:pt x="95" y="236"/>
                    <a:pt x="84" y="238"/>
                    <a:pt x="74" y="238"/>
                  </a:cubicBezTo>
                  <a:cubicBezTo>
                    <a:pt x="56" y="238"/>
                    <a:pt x="45" y="234"/>
                    <a:pt x="37" y="225"/>
                  </a:cubicBezTo>
                  <a:cubicBezTo>
                    <a:pt x="30" y="217"/>
                    <a:pt x="27" y="204"/>
                    <a:pt x="27" y="188"/>
                  </a:cubicBezTo>
                  <a:cubicBezTo>
                    <a:pt x="27" y="91"/>
                    <a:pt x="27" y="91"/>
                    <a:pt x="27" y="9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104" y="57"/>
                    <a:pt x="104" y="57"/>
                    <a:pt x="104" y="57"/>
                  </a:cubicBezTo>
                  <a:cubicBezTo>
                    <a:pt x="104" y="91"/>
                    <a:pt x="104" y="91"/>
                    <a:pt x="104" y="9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0" y="180"/>
                    <a:pt x="70" y="180"/>
                    <a:pt x="70" y="180"/>
                  </a:cubicBezTo>
                  <a:cubicBezTo>
                    <a:pt x="70" y="198"/>
                    <a:pt x="75" y="204"/>
                    <a:pt x="88" y="204"/>
                  </a:cubicBezTo>
                  <a:cubicBezTo>
                    <a:pt x="93" y="204"/>
                    <a:pt x="99" y="203"/>
                    <a:pt x="105" y="201"/>
                  </a:cubicBezTo>
                  <a:lnTo>
                    <a:pt x="105" y="2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BBFAB4CE-882F-453E-8598-B3A453ABF0FC}"/>
                </a:ext>
              </a:extLst>
            </p:cNvPr>
            <p:cNvSpPr>
              <a:spLocks/>
            </p:cNvSpPr>
            <p:nvPr/>
          </p:nvSpPr>
          <p:spPr bwMode="gray">
            <a:xfrm>
              <a:off x="3324548" y="4252126"/>
              <a:ext cx="576263" cy="949325"/>
            </a:xfrm>
            <a:custGeom>
              <a:avLst/>
              <a:gdLst>
                <a:gd name="T0" fmla="*/ 112 w 154"/>
                <a:gd name="T1" fmla="*/ 252 h 252"/>
                <a:gd name="T2" fmla="*/ 112 w 154"/>
                <a:gd name="T3" fmla="*/ 150 h 252"/>
                <a:gd name="T4" fmla="*/ 105 w 154"/>
                <a:gd name="T5" fmla="*/ 118 h 252"/>
                <a:gd name="T6" fmla="*/ 82 w 154"/>
                <a:gd name="T7" fmla="*/ 109 h 252"/>
                <a:gd name="T8" fmla="*/ 52 w 154"/>
                <a:gd name="T9" fmla="*/ 124 h 252"/>
                <a:gd name="T10" fmla="*/ 42 w 154"/>
                <a:gd name="T11" fmla="*/ 166 h 252"/>
                <a:gd name="T12" fmla="*/ 42 w 154"/>
                <a:gd name="T13" fmla="*/ 252 h 252"/>
                <a:gd name="T14" fmla="*/ 0 w 154"/>
                <a:gd name="T15" fmla="*/ 252 h 252"/>
                <a:gd name="T16" fmla="*/ 0 w 154"/>
                <a:gd name="T17" fmla="*/ 0 h 252"/>
                <a:gd name="T18" fmla="*/ 41 w 154"/>
                <a:gd name="T19" fmla="*/ 0 h 252"/>
                <a:gd name="T20" fmla="*/ 41 w 154"/>
                <a:gd name="T21" fmla="*/ 101 h 252"/>
                <a:gd name="T22" fmla="*/ 100 w 154"/>
                <a:gd name="T23" fmla="*/ 71 h 252"/>
                <a:gd name="T24" fmla="*/ 143 w 154"/>
                <a:gd name="T25" fmla="*/ 90 h 252"/>
                <a:gd name="T26" fmla="*/ 154 w 154"/>
                <a:gd name="T27" fmla="*/ 142 h 252"/>
                <a:gd name="T28" fmla="*/ 154 w 154"/>
                <a:gd name="T29" fmla="*/ 252 h 252"/>
                <a:gd name="T30" fmla="*/ 112 w 154"/>
                <a:gd name="T31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4" h="252">
                  <a:moveTo>
                    <a:pt x="112" y="252"/>
                  </a:moveTo>
                  <a:cubicBezTo>
                    <a:pt x="112" y="150"/>
                    <a:pt x="112" y="150"/>
                    <a:pt x="112" y="150"/>
                  </a:cubicBezTo>
                  <a:cubicBezTo>
                    <a:pt x="112" y="135"/>
                    <a:pt x="111" y="125"/>
                    <a:pt x="105" y="118"/>
                  </a:cubicBezTo>
                  <a:cubicBezTo>
                    <a:pt x="100" y="111"/>
                    <a:pt x="93" y="109"/>
                    <a:pt x="82" y="109"/>
                  </a:cubicBezTo>
                  <a:cubicBezTo>
                    <a:pt x="71" y="109"/>
                    <a:pt x="59" y="115"/>
                    <a:pt x="52" y="124"/>
                  </a:cubicBezTo>
                  <a:cubicBezTo>
                    <a:pt x="43" y="136"/>
                    <a:pt x="42" y="149"/>
                    <a:pt x="42" y="166"/>
                  </a:cubicBezTo>
                  <a:cubicBezTo>
                    <a:pt x="42" y="252"/>
                    <a:pt x="42" y="252"/>
                    <a:pt x="42" y="252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01"/>
                    <a:pt x="41" y="101"/>
                    <a:pt x="41" y="101"/>
                  </a:cubicBezTo>
                  <a:cubicBezTo>
                    <a:pt x="54" y="83"/>
                    <a:pt x="75" y="71"/>
                    <a:pt x="100" y="71"/>
                  </a:cubicBezTo>
                  <a:cubicBezTo>
                    <a:pt x="121" y="71"/>
                    <a:pt x="134" y="78"/>
                    <a:pt x="143" y="90"/>
                  </a:cubicBezTo>
                  <a:cubicBezTo>
                    <a:pt x="151" y="101"/>
                    <a:pt x="154" y="115"/>
                    <a:pt x="154" y="142"/>
                  </a:cubicBezTo>
                  <a:cubicBezTo>
                    <a:pt x="154" y="252"/>
                    <a:pt x="154" y="252"/>
                    <a:pt x="154" y="252"/>
                  </a:cubicBezTo>
                  <a:lnTo>
                    <a:pt x="112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C2CC2E23-78DD-4B66-BB60-32A665C0D8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53211" y="4252126"/>
              <a:ext cx="157163" cy="949325"/>
            </a:xfrm>
            <a:custGeom>
              <a:avLst/>
              <a:gdLst>
                <a:gd name="T0" fmla="*/ 0 w 99"/>
                <a:gd name="T1" fmla="*/ 95 h 598"/>
                <a:gd name="T2" fmla="*/ 0 w 99"/>
                <a:gd name="T3" fmla="*/ 0 h 598"/>
                <a:gd name="T4" fmla="*/ 99 w 99"/>
                <a:gd name="T5" fmla="*/ 0 h 598"/>
                <a:gd name="T6" fmla="*/ 99 w 99"/>
                <a:gd name="T7" fmla="*/ 95 h 598"/>
                <a:gd name="T8" fmla="*/ 0 w 99"/>
                <a:gd name="T9" fmla="*/ 95 h 598"/>
                <a:gd name="T10" fmla="*/ 99 w 99"/>
                <a:gd name="T11" fmla="*/ 598 h 598"/>
                <a:gd name="T12" fmla="*/ 0 w 99"/>
                <a:gd name="T13" fmla="*/ 598 h 598"/>
                <a:gd name="T14" fmla="*/ 0 w 99"/>
                <a:gd name="T15" fmla="*/ 176 h 598"/>
                <a:gd name="T16" fmla="*/ 99 w 99"/>
                <a:gd name="T17" fmla="*/ 176 h 598"/>
                <a:gd name="T18" fmla="*/ 99 w 99"/>
                <a:gd name="T19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598">
                  <a:moveTo>
                    <a:pt x="0" y="95"/>
                  </a:moveTo>
                  <a:lnTo>
                    <a:pt x="0" y="0"/>
                  </a:lnTo>
                  <a:lnTo>
                    <a:pt x="99" y="0"/>
                  </a:lnTo>
                  <a:lnTo>
                    <a:pt x="99" y="95"/>
                  </a:lnTo>
                  <a:lnTo>
                    <a:pt x="0" y="95"/>
                  </a:lnTo>
                  <a:close/>
                  <a:moveTo>
                    <a:pt x="99" y="598"/>
                  </a:moveTo>
                  <a:lnTo>
                    <a:pt x="0" y="598"/>
                  </a:lnTo>
                  <a:lnTo>
                    <a:pt x="0" y="176"/>
                  </a:lnTo>
                  <a:lnTo>
                    <a:pt x="99" y="176"/>
                  </a:lnTo>
                  <a:lnTo>
                    <a:pt x="99" y="5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D86E8A86-5EA6-4FBF-BC19-DD9D48B551A5}"/>
                </a:ext>
              </a:extLst>
            </p:cNvPr>
            <p:cNvSpPr>
              <a:spLocks/>
            </p:cNvSpPr>
            <p:nvPr/>
          </p:nvSpPr>
          <p:spPr bwMode="gray">
            <a:xfrm>
              <a:off x="4375473" y="4520414"/>
              <a:ext cx="576263" cy="681038"/>
            </a:xfrm>
            <a:custGeom>
              <a:avLst/>
              <a:gdLst>
                <a:gd name="T0" fmla="*/ 112 w 154"/>
                <a:gd name="T1" fmla="*/ 181 h 181"/>
                <a:gd name="T2" fmla="*/ 112 w 154"/>
                <a:gd name="T3" fmla="*/ 79 h 181"/>
                <a:gd name="T4" fmla="*/ 106 w 154"/>
                <a:gd name="T5" fmla="*/ 48 h 181"/>
                <a:gd name="T6" fmla="*/ 82 w 154"/>
                <a:gd name="T7" fmla="*/ 38 h 181"/>
                <a:gd name="T8" fmla="*/ 52 w 154"/>
                <a:gd name="T9" fmla="*/ 53 h 181"/>
                <a:gd name="T10" fmla="*/ 41 w 154"/>
                <a:gd name="T11" fmla="*/ 95 h 181"/>
                <a:gd name="T12" fmla="*/ 41 w 154"/>
                <a:gd name="T13" fmla="*/ 181 h 181"/>
                <a:gd name="T14" fmla="*/ 0 w 154"/>
                <a:gd name="T15" fmla="*/ 181 h 181"/>
                <a:gd name="T16" fmla="*/ 0 w 154"/>
                <a:gd name="T17" fmla="*/ 3 h 181"/>
                <a:gd name="T18" fmla="*/ 41 w 154"/>
                <a:gd name="T19" fmla="*/ 3 h 181"/>
                <a:gd name="T20" fmla="*/ 41 w 154"/>
                <a:gd name="T21" fmla="*/ 30 h 181"/>
                <a:gd name="T22" fmla="*/ 100 w 154"/>
                <a:gd name="T23" fmla="*/ 0 h 181"/>
                <a:gd name="T24" fmla="*/ 144 w 154"/>
                <a:gd name="T25" fmla="*/ 21 h 181"/>
                <a:gd name="T26" fmla="*/ 154 w 154"/>
                <a:gd name="T27" fmla="*/ 70 h 181"/>
                <a:gd name="T28" fmla="*/ 154 w 154"/>
                <a:gd name="T29" fmla="*/ 181 h 181"/>
                <a:gd name="T30" fmla="*/ 112 w 154"/>
                <a:gd name="T31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4" h="181">
                  <a:moveTo>
                    <a:pt x="112" y="181"/>
                  </a:moveTo>
                  <a:cubicBezTo>
                    <a:pt x="112" y="79"/>
                    <a:pt x="112" y="79"/>
                    <a:pt x="112" y="79"/>
                  </a:cubicBezTo>
                  <a:cubicBezTo>
                    <a:pt x="112" y="65"/>
                    <a:pt x="111" y="55"/>
                    <a:pt x="106" y="48"/>
                  </a:cubicBezTo>
                  <a:cubicBezTo>
                    <a:pt x="101" y="41"/>
                    <a:pt x="93" y="38"/>
                    <a:pt x="82" y="38"/>
                  </a:cubicBezTo>
                  <a:cubicBezTo>
                    <a:pt x="70" y="38"/>
                    <a:pt x="59" y="44"/>
                    <a:pt x="52" y="53"/>
                  </a:cubicBezTo>
                  <a:cubicBezTo>
                    <a:pt x="43" y="65"/>
                    <a:pt x="41" y="78"/>
                    <a:pt x="41" y="95"/>
                  </a:cubicBezTo>
                  <a:cubicBezTo>
                    <a:pt x="41" y="181"/>
                    <a:pt x="41" y="181"/>
                    <a:pt x="41" y="181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54" y="12"/>
                    <a:pt x="75" y="0"/>
                    <a:pt x="100" y="0"/>
                  </a:cubicBezTo>
                  <a:cubicBezTo>
                    <a:pt x="121" y="0"/>
                    <a:pt x="135" y="8"/>
                    <a:pt x="144" y="21"/>
                  </a:cubicBezTo>
                  <a:cubicBezTo>
                    <a:pt x="151" y="32"/>
                    <a:pt x="154" y="46"/>
                    <a:pt x="154" y="70"/>
                  </a:cubicBezTo>
                  <a:cubicBezTo>
                    <a:pt x="154" y="181"/>
                    <a:pt x="154" y="181"/>
                    <a:pt x="154" y="181"/>
                  </a:cubicBezTo>
                  <a:lnTo>
                    <a:pt x="112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EC9B6889-FA29-42DD-9DF0-3939D906CE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05723" y="4252126"/>
              <a:ext cx="617538" cy="949325"/>
            </a:xfrm>
            <a:custGeom>
              <a:avLst/>
              <a:gdLst>
                <a:gd name="T0" fmla="*/ 276 w 389"/>
                <a:gd name="T1" fmla="*/ 598 h 598"/>
                <a:gd name="T2" fmla="*/ 158 w 389"/>
                <a:gd name="T3" fmla="*/ 406 h 598"/>
                <a:gd name="T4" fmla="*/ 97 w 389"/>
                <a:gd name="T5" fmla="*/ 470 h 598"/>
                <a:gd name="T6" fmla="*/ 97 w 389"/>
                <a:gd name="T7" fmla="*/ 598 h 598"/>
                <a:gd name="T8" fmla="*/ 0 w 389"/>
                <a:gd name="T9" fmla="*/ 598 h 598"/>
                <a:gd name="T10" fmla="*/ 0 w 389"/>
                <a:gd name="T11" fmla="*/ 0 h 598"/>
                <a:gd name="T12" fmla="*/ 97 w 389"/>
                <a:gd name="T13" fmla="*/ 0 h 598"/>
                <a:gd name="T14" fmla="*/ 97 w 389"/>
                <a:gd name="T15" fmla="*/ 356 h 598"/>
                <a:gd name="T16" fmla="*/ 257 w 389"/>
                <a:gd name="T17" fmla="*/ 176 h 598"/>
                <a:gd name="T18" fmla="*/ 375 w 389"/>
                <a:gd name="T19" fmla="*/ 176 h 598"/>
                <a:gd name="T20" fmla="*/ 229 w 389"/>
                <a:gd name="T21" fmla="*/ 337 h 598"/>
                <a:gd name="T22" fmla="*/ 389 w 389"/>
                <a:gd name="T23" fmla="*/ 598 h 598"/>
                <a:gd name="T24" fmla="*/ 276 w 389"/>
                <a:gd name="T25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9" h="598">
                  <a:moveTo>
                    <a:pt x="276" y="598"/>
                  </a:moveTo>
                  <a:lnTo>
                    <a:pt x="158" y="406"/>
                  </a:lnTo>
                  <a:lnTo>
                    <a:pt x="97" y="470"/>
                  </a:lnTo>
                  <a:lnTo>
                    <a:pt x="97" y="598"/>
                  </a:lnTo>
                  <a:lnTo>
                    <a:pt x="0" y="598"/>
                  </a:lnTo>
                  <a:lnTo>
                    <a:pt x="0" y="0"/>
                  </a:lnTo>
                  <a:lnTo>
                    <a:pt x="97" y="0"/>
                  </a:lnTo>
                  <a:lnTo>
                    <a:pt x="97" y="356"/>
                  </a:lnTo>
                  <a:lnTo>
                    <a:pt x="257" y="176"/>
                  </a:lnTo>
                  <a:lnTo>
                    <a:pt x="375" y="176"/>
                  </a:lnTo>
                  <a:lnTo>
                    <a:pt x="229" y="337"/>
                  </a:lnTo>
                  <a:lnTo>
                    <a:pt x="389" y="598"/>
                  </a:lnTo>
                  <a:lnTo>
                    <a:pt x="276" y="5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305A65CC-530A-4747-86DE-21B8AAC564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67748" y="4512476"/>
              <a:ext cx="620713" cy="708025"/>
            </a:xfrm>
            <a:custGeom>
              <a:avLst/>
              <a:gdLst>
                <a:gd name="T0" fmla="*/ 165 w 166"/>
                <a:gd name="T1" fmla="*/ 138 h 188"/>
                <a:gd name="T2" fmla="*/ 88 w 166"/>
                <a:gd name="T3" fmla="*/ 188 h 188"/>
                <a:gd name="T4" fmla="*/ 0 w 166"/>
                <a:gd name="T5" fmla="*/ 92 h 188"/>
                <a:gd name="T6" fmla="*/ 86 w 166"/>
                <a:gd name="T7" fmla="*/ 0 h 188"/>
                <a:gd name="T8" fmla="*/ 166 w 166"/>
                <a:gd name="T9" fmla="*/ 105 h 188"/>
                <a:gd name="T10" fmla="*/ 42 w 166"/>
                <a:gd name="T11" fmla="*/ 105 h 188"/>
                <a:gd name="T12" fmla="*/ 89 w 166"/>
                <a:gd name="T13" fmla="*/ 153 h 188"/>
                <a:gd name="T14" fmla="*/ 128 w 166"/>
                <a:gd name="T15" fmla="*/ 125 h 188"/>
                <a:gd name="T16" fmla="*/ 165 w 166"/>
                <a:gd name="T17" fmla="*/ 138 h 188"/>
                <a:gd name="T18" fmla="*/ 124 w 166"/>
                <a:gd name="T19" fmla="*/ 75 h 188"/>
                <a:gd name="T20" fmla="*/ 85 w 166"/>
                <a:gd name="T21" fmla="*/ 33 h 188"/>
                <a:gd name="T22" fmla="*/ 43 w 166"/>
                <a:gd name="T23" fmla="*/ 75 h 188"/>
                <a:gd name="T24" fmla="*/ 124 w 166"/>
                <a:gd name="T25" fmla="*/ 7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188">
                  <a:moveTo>
                    <a:pt x="165" y="138"/>
                  </a:moveTo>
                  <a:cubicBezTo>
                    <a:pt x="152" y="170"/>
                    <a:pt x="125" y="188"/>
                    <a:pt x="88" y="188"/>
                  </a:cubicBezTo>
                  <a:cubicBezTo>
                    <a:pt x="31" y="188"/>
                    <a:pt x="0" y="151"/>
                    <a:pt x="0" y="92"/>
                  </a:cubicBezTo>
                  <a:cubicBezTo>
                    <a:pt x="0" y="36"/>
                    <a:pt x="35" y="0"/>
                    <a:pt x="86" y="0"/>
                  </a:cubicBezTo>
                  <a:cubicBezTo>
                    <a:pt x="142" y="0"/>
                    <a:pt x="166" y="41"/>
                    <a:pt x="166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4" y="135"/>
                    <a:pt x="60" y="153"/>
                    <a:pt x="89" y="153"/>
                  </a:cubicBezTo>
                  <a:cubicBezTo>
                    <a:pt x="107" y="153"/>
                    <a:pt x="122" y="146"/>
                    <a:pt x="128" y="125"/>
                  </a:cubicBezTo>
                  <a:lnTo>
                    <a:pt x="165" y="138"/>
                  </a:lnTo>
                  <a:close/>
                  <a:moveTo>
                    <a:pt x="124" y="75"/>
                  </a:moveTo>
                  <a:cubicBezTo>
                    <a:pt x="122" y="47"/>
                    <a:pt x="108" y="33"/>
                    <a:pt x="85" y="33"/>
                  </a:cubicBezTo>
                  <a:cubicBezTo>
                    <a:pt x="62" y="33"/>
                    <a:pt x="46" y="47"/>
                    <a:pt x="43" y="75"/>
                  </a:cubicBezTo>
                  <a:lnTo>
                    <a:pt x="124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4B4B56C6-5405-44C4-914F-CEBFC7674518}"/>
                </a:ext>
              </a:extLst>
            </p:cNvPr>
            <p:cNvSpPr>
              <a:spLocks/>
            </p:cNvSpPr>
            <p:nvPr/>
          </p:nvSpPr>
          <p:spPr bwMode="gray">
            <a:xfrm>
              <a:off x="6807523" y="4520414"/>
              <a:ext cx="581025" cy="681038"/>
            </a:xfrm>
            <a:custGeom>
              <a:avLst/>
              <a:gdLst>
                <a:gd name="T0" fmla="*/ 113 w 155"/>
                <a:gd name="T1" fmla="*/ 181 h 181"/>
                <a:gd name="T2" fmla="*/ 113 w 155"/>
                <a:gd name="T3" fmla="*/ 79 h 181"/>
                <a:gd name="T4" fmla="*/ 107 w 155"/>
                <a:gd name="T5" fmla="*/ 48 h 181"/>
                <a:gd name="T6" fmla="*/ 83 w 155"/>
                <a:gd name="T7" fmla="*/ 38 h 181"/>
                <a:gd name="T8" fmla="*/ 52 w 155"/>
                <a:gd name="T9" fmla="*/ 53 h 181"/>
                <a:gd name="T10" fmla="*/ 42 w 155"/>
                <a:gd name="T11" fmla="*/ 95 h 181"/>
                <a:gd name="T12" fmla="*/ 42 w 155"/>
                <a:gd name="T13" fmla="*/ 181 h 181"/>
                <a:gd name="T14" fmla="*/ 0 w 155"/>
                <a:gd name="T15" fmla="*/ 181 h 181"/>
                <a:gd name="T16" fmla="*/ 0 w 155"/>
                <a:gd name="T17" fmla="*/ 3 h 181"/>
                <a:gd name="T18" fmla="*/ 42 w 155"/>
                <a:gd name="T19" fmla="*/ 3 h 181"/>
                <a:gd name="T20" fmla="*/ 42 w 155"/>
                <a:gd name="T21" fmla="*/ 30 h 181"/>
                <a:gd name="T22" fmla="*/ 100 w 155"/>
                <a:gd name="T23" fmla="*/ 0 h 181"/>
                <a:gd name="T24" fmla="*/ 145 w 155"/>
                <a:gd name="T25" fmla="*/ 21 h 181"/>
                <a:gd name="T26" fmla="*/ 155 w 155"/>
                <a:gd name="T27" fmla="*/ 70 h 181"/>
                <a:gd name="T28" fmla="*/ 155 w 155"/>
                <a:gd name="T29" fmla="*/ 181 h 181"/>
                <a:gd name="T30" fmla="*/ 113 w 155"/>
                <a:gd name="T31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5" h="181">
                  <a:moveTo>
                    <a:pt x="113" y="181"/>
                  </a:moveTo>
                  <a:cubicBezTo>
                    <a:pt x="113" y="79"/>
                    <a:pt x="113" y="79"/>
                    <a:pt x="113" y="79"/>
                  </a:cubicBezTo>
                  <a:cubicBezTo>
                    <a:pt x="113" y="65"/>
                    <a:pt x="111" y="55"/>
                    <a:pt x="107" y="48"/>
                  </a:cubicBezTo>
                  <a:cubicBezTo>
                    <a:pt x="102" y="41"/>
                    <a:pt x="94" y="38"/>
                    <a:pt x="83" y="38"/>
                  </a:cubicBezTo>
                  <a:cubicBezTo>
                    <a:pt x="71" y="38"/>
                    <a:pt x="60" y="44"/>
                    <a:pt x="52" y="53"/>
                  </a:cubicBezTo>
                  <a:cubicBezTo>
                    <a:pt x="44" y="65"/>
                    <a:pt x="42" y="78"/>
                    <a:pt x="42" y="95"/>
                  </a:cubicBezTo>
                  <a:cubicBezTo>
                    <a:pt x="42" y="181"/>
                    <a:pt x="42" y="181"/>
                    <a:pt x="42" y="181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55" y="12"/>
                    <a:pt x="76" y="0"/>
                    <a:pt x="100" y="0"/>
                  </a:cubicBezTo>
                  <a:cubicBezTo>
                    <a:pt x="122" y="0"/>
                    <a:pt x="136" y="8"/>
                    <a:pt x="145" y="21"/>
                  </a:cubicBezTo>
                  <a:cubicBezTo>
                    <a:pt x="152" y="32"/>
                    <a:pt x="155" y="46"/>
                    <a:pt x="155" y="70"/>
                  </a:cubicBezTo>
                  <a:cubicBezTo>
                    <a:pt x="155" y="181"/>
                    <a:pt x="155" y="181"/>
                    <a:pt x="155" y="181"/>
                  </a:cubicBezTo>
                  <a:lnTo>
                    <a:pt x="113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2678561C-329A-4968-83FC-C4628906007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04436" y="4512476"/>
              <a:ext cx="620713" cy="708025"/>
            </a:xfrm>
            <a:custGeom>
              <a:avLst/>
              <a:gdLst>
                <a:gd name="T0" fmla="*/ 165 w 166"/>
                <a:gd name="T1" fmla="*/ 138 h 188"/>
                <a:gd name="T2" fmla="*/ 88 w 166"/>
                <a:gd name="T3" fmla="*/ 188 h 188"/>
                <a:gd name="T4" fmla="*/ 0 w 166"/>
                <a:gd name="T5" fmla="*/ 92 h 188"/>
                <a:gd name="T6" fmla="*/ 86 w 166"/>
                <a:gd name="T7" fmla="*/ 0 h 188"/>
                <a:gd name="T8" fmla="*/ 166 w 166"/>
                <a:gd name="T9" fmla="*/ 105 h 188"/>
                <a:gd name="T10" fmla="*/ 42 w 166"/>
                <a:gd name="T11" fmla="*/ 105 h 188"/>
                <a:gd name="T12" fmla="*/ 88 w 166"/>
                <a:gd name="T13" fmla="*/ 153 h 188"/>
                <a:gd name="T14" fmla="*/ 128 w 166"/>
                <a:gd name="T15" fmla="*/ 125 h 188"/>
                <a:gd name="T16" fmla="*/ 165 w 166"/>
                <a:gd name="T17" fmla="*/ 138 h 188"/>
                <a:gd name="T18" fmla="*/ 124 w 166"/>
                <a:gd name="T19" fmla="*/ 75 h 188"/>
                <a:gd name="T20" fmla="*/ 85 w 166"/>
                <a:gd name="T21" fmla="*/ 33 h 188"/>
                <a:gd name="T22" fmla="*/ 42 w 166"/>
                <a:gd name="T23" fmla="*/ 75 h 188"/>
                <a:gd name="T24" fmla="*/ 124 w 166"/>
                <a:gd name="T25" fmla="*/ 7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188">
                  <a:moveTo>
                    <a:pt x="165" y="138"/>
                  </a:moveTo>
                  <a:cubicBezTo>
                    <a:pt x="152" y="170"/>
                    <a:pt x="125" y="188"/>
                    <a:pt x="88" y="188"/>
                  </a:cubicBezTo>
                  <a:cubicBezTo>
                    <a:pt x="31" y="188"/>
                    <a:pt x="0" y="151"/>
                    <a:pt x="0" y="92"/>
                  </a:cubicBezTo>
                  <a:cubicBezTo>
                    <a:pt x="0" y="36"/>
                    <a:pt x="34" y="0"/>
                    <a:pt x="86" y="0"/>
                  </a:cubicBezTo>
                  <a:cubicBezTo>
                    <a:pt x="142" y="0"/>
                    <a:pt x="166" y="41"/>
                    <a:pt x="166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4" y="135"/>
                    <a:pt x="60" y="153"/>
                    <a:pt x="88" y="153"/>
                  </a:cubicBezTo>
                  <a:cubicBezTo>
                    <a:pt x="107" y="153"/>
                    <a:pt x="122" y="146"/>
                    <a:pt x="128" y="125"/>
                  </a:cubicBezTo>
                  <a:lnTo>
                    <a:pt x="165" y="138"/>
                  </a:lnTo>
                  <a:close/>
                  <a:moveTo>
                    <a:pt x="124" y="75"/>
                  </a:moveTo>
                  <a:cubicBezTo>
                    <a:pt x="122" y="47"/>
                    <a:pt x="108" y="33"/>
                    <a:pt x="85" y="33"/>
                  </a:cubicBezTo>
                  <a:cubicBezTo>
                    <a:pt x="62" y="33"/>
                    <a:pt x="45" y="47"/>
                    <a:pt x="42" y="75"/>
                  </a:cubicBezTo>
                  <a:lnTo>
                    <a:pt x="124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FA623EDE-B5C4-4B4A-AD11-89251E49E610}"/>
                </a:ext>
              </a:extLst>
            </p:cNvPr>
            <p:cNvSpPr>
              <a:spLocks/>
            </p:cNvSpPr>
            <p:nvPr/>
          </p:nvSpPr>
          <p:spPr bwMode="gray">
            <a:xfrm>
              <a:off x="8244211" y="4523589"/>
              <a:ext cx="393700" cy="677863"/>
            </a:xfrm>
            <a:custGeom>
              <a:avLst/>
              <a:gdLst>
                <a:gd name="T0" fmla="*/ 0 w 105"/>
                <a:gd name="T1" fmla="*/ 180 h 180"/>
                <a:gd name="T2" fmla="*/ 0 w 105"/>
                <a:gd name="T3" fmla="*/ 2 h 180"/>
                <a:gd name="T4" fmla="*/ 40 w 105"/>
                <a:gd name="T5" fmla="*/ 2 h 180"/>
                <a:gd name="T6" fmla="*/ 40 w 105"/>
                <a:gd name="T7" fmla="*/ 30 h 180"/>
                <a:gd name="T8" fmla="*/ 89 w 105"/>
                <a:gd name="T9" fmla="*/ 0 h 180"/>
                <a:gd name="T10" fmla="*/ 105 w 105"/>
                <a:gd name="T11" fmla="*/ 2 h 180"/>
                <a:gd name="T12" fmla="*/ 105 w 105"/>
                <a:gd name="T13" fmla="*/ 44 h 180"/>
                <a:gd name="T14" fmla="*/ 85 w 105"/>
                <a:gd name="T15" fmla="*/ 39 h 180"/>
                <a:gd name="T16" fmla="*/ 51 w 105"/>
                <a:gd name="T17" fmla="*/ 57 h 180"/>
                <a:gd name="T18" fmla="*/ 42 w 105"/>
                <a:gd name="T19" fmla="*/ 97 h 180"/>
                <a:gd name="T20" fmla="*/ 42 w 105"/>
                <a:gd name="T21" fmla="*/ 180 h 180"/>
                <a:gd name="T22" fmla="*/ 0 w 105"/>
                <a:gd name="T23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80">
                  <a:moveTo>
                    <a:pt x="0" y="18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51" y="11"/>
                    <a:pt x="65" y="0"/>
                    <a:pt x="89" y="0"/>
                  </a:cubicBezTo>
                  <a:cubicBezTo>
                    <a:pt x="95" y="0"/>
                    <a:pt x="99" y="1"/>
                    <a:pt x="105" y="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98" y="41"/>
                    <a:pt x="92" y="39"/>
                    <a:pt x="85" y="39"/>
                  </a:cubicBezTo>
                  <a:cubicBezTo>
                    <a:pt x="71" y="39"/>
                    <a:pt x="59" y="46"/>
                    <a:pt x="51" y="57"/>
                  </a:cubicBezTo>
                  <a:cubicBezTo>
                    <a:pt x="45" y="66"/>
                    <a:pt x="42" y="78"/>
                    <a:pt x="42" y="97"/>
                  </a:cubicBezTo>
                  <a:cubicBezTo>
                    <a:pt x="42" y="180"/>
                    <a:pt x="42" y="180"/>
                    <a:pt x="42" y="180"/>
                  </a:cubicBezTo>
                  <a:lnTo>
                    <a:pt x="0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7E78510E-A554-4F73-B165-039816AC672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687123" y="4523589"/>
              <a:ext cx="623888" cy="960438"/>
            </a:xfrm>
            <a:custGeom>
              <a:avLst/>
              <a:gdLst>
                <a:gd name="T0" fmla="*/ 124 w 167"/>
                <a:gd name="T1" fmla="*/ 155 h 255"/>
                <a:gd name="T2" fmla="*/ 71 w 167"/>
                <a:gd name="T3" fmla="*/ 178 h 255"/>
                <a:gd name="T4" fmla="*/ 0 w 167"/>
                <a:gd name="T5" fmla="*/ 89 h 255"/>
                <a:gd name="T6" fmla="*/ 74 w 167"/>
                <a:gd name="T7" fmla="*/ 0 h 255"/>
                <a:gd name="T8" fmla="*/ 126 w 167"/>
                <a:gd name="T9" fmla="*/ 25 h 255"/>
                <a:gd name="T10" fmla="*/ 126 w 167"/>
                <a:gd name="T11" fmla="*/ 3 h 255"/>
                <a:gd name="T12" fmla="*/ 167 w 167"/>
                <a:gd name="T13" fmla="*/ 3 h 255"/>
                <a:gd name="T14" fmla="*/ 167 w 167"/>
                <a:gd name="T15" fmla="*/ 168 h 255"/>
                <a:gd name="T16" fmla="*/ 139 w 167"/>
                <a:gd name="T17" fmla="*/ 241 h 255"/>
                <a:gd name="T18" fmla="*/ 83 w 167"/>
                <a:gd name="T19" fmla="*/ 255 h 255"/>
                <a:gd name="T20" fmla="*/ 4 w 167"/>
                <a:gd name="T21" fmla="*/ 200 h 255"/>
                <a:gd name="T22" fmla="*/ 48 w 167"/>
                <a:gd name="T23" fmla="*/ 192 h 255"/>
                <a:gd name="T24" fmla="*/ 84 w 167"/>
                <a:gd name="T25" fmla="*/ 221 h 255"/>
                <a:gd name="T26" fmla="*/ 117 w 167"/>
                <a:gd name="T27" fmla="*/ 206 h 255"/>
                <a:gd name="T28" fmla="*/ 124 w 167"/>
                <a:gd name="T29" fmla="*/ 172 h 255"/>
                <a:gd name="T30" fmla="*/ 124 w 167"/>
                <a:gd name="T31" fmla="*/ 155 h 255"/>
                <a:gd name="T32" fmla="*/ 86 w 167"/>
                <a:gd name="T33" fmla="*/ 34 h 255"/>
                <a:gd name="T34" fmla="*/ 43 w 167"/>
                <a:gd name="T35" fmla="*/ 89 h 255"/>
                <a:gd name="T36" fmla="*/ 85 w 167"/>
                <a:gd name="T37" fmla="*/ 145 h 255"/>
                <a:gd name="T38" fmla="*/ 125 w 167"/>
                <a:gd name="T39" fmla="*/ 93 h 255"/>
                <a:gd name="T40" fmla="*/ 86 w 167"/>
                <a:gd name="T41" fmla="*/ 34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7" h="255">
                  <a:moveTo>
                    <a:pt x="124" y="155"/>
                  </a:moveTo>
                  <a:cubicBezTo>
                    <a:pt x="111" y="170"/>
                    <a:pt x="94" y="178"/>
                    <a:pt x="71" y="178"/>
                  </a:cubicBezTo>
                  <a:cubicBezTo>
                    <a:pt x="28" y="178"/>
                    <a:pt x="0" y="145"/>
                    <a:pt x="0" y="89"/>
                  </a:cubicBezTo>
                  <a:cubicBezTo>
                    <a:pt x="0" y="33"/>
                    <a:pt x="30" y="0"/>
                    <a:pt x="74" y="0"/>
                  </a:cubicBezTo>
                  <a:cubicBezTo>
                    <a:pt x="99" y="0"/>
                    <a:pt x="116" y="8"/>
                    <a:pt x="126" y="25"/>
                  </a:cubicBezTo>
                  <a:cubicBezTo>
                    <a:pt x="126" y="3"/>
                    <a:pt x="126" y="3"/>
                    <a:pt x="126" y="3"/>
                  </a:cubicBezTo>
                  <a:cubicBezTo>
                    <a:pt x="167" y="3"/>
                    <a:pt x="167" y="3"/>
                    <a:pt x="167" y="3"/>
                  </a:cubicBezTo>
                  <a:cubicBezTo>
                    <a:pt x="167" y="168"/>
                    <a:pt x="167" y="168"/>
                    <a:pt x="167" y="168"/>
                  </a:cubicBezTo>
                  <a:cubicBezTo>
                    <a:pt x="167" y="205"/>
                    <a:pt x="158" y="228"/>
                    <a:pt x="139" y="241"/>
                  </a:cubicBezTo>
                  <a:cubicBezTo>
                    <a:pt x="126" y="251"/>
                    <a:pt x="105" y="255"/>
                    <a:pt x="83" y="255"/>
                  </a:cubicBezTo>
                  <a:cubicBezTo>
                    <a:pt x="39" y="255"/>
                    <a:pt x="12" y="236"/>
                    <a:pt x="4" y="200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51" y="211"/>
                    <a:pt x="64" y="221"/>
                    <a:pt x="84" y="221"/>
                  </a:cubicBezTo>
                  <a:cubicBezTo>
                    <a:pt x="101" y="221"/>
                    <a:pt x="111" y="216"/>
                    <a:pt x="117" y="206"/>
                  </a:cubicBezTo>
                  <a:cubicBezTo>
                    <a:pt x="122" y="199"/>
                    <a:pt x="124" y="187"/>
                    <a:pt x="124" y="172"/>
                  </a:cubicBezTo>
                  <a:lnTo>
                    <a:pt x="124" y="155"/>
                  </a:lnTo>
                  <a:close/>
                  <a:moveTo>
                    <a:pt x="86" y="34"/>
                  </a:moveTo>
                  <a:cubicBezTo>
                    <a:pt x="60" y="34"/>
                    <a:pt x="43" y="54"/>
                    <a:pt x="43" y="89"/>
                  </a:cubicBezTo>
                  <a:cubicBezTo>
                    <a:pt x="43" y="125"/>
                    <a:pt x="59" y="145"/>
                    <a:pt x="85" y="145"/>
                  </a:cubicBezTo>
                  <a:cubicBezTo>
                    <a:pt x="109" y="145"/>
                    <a:pt x="124" y="128"/>
                    <a:pt x="125" y="93"/>
                  </a:cubicBezTo>
                  <a:cubicBezTo>
                    <a:pt x="125" y="56"/>
                    <a:pt x="112" y="34"/>
                    <a:pt x="86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9D9CDDBA-195D-4D39-8013-0D1C0A9DEE9C}"/>
                </a:ext>
              </a:extLst>
            </p:cNvPr>
            <p:cNvSpPr>
              <a:spLocks/>
            </p:cNvSpPr>
            <p:nvPr/>
          </p:nvSpPr>
          <p:spPr bwMode="gray">
            <a:xfrm>
              <a:off x="9390386" y="4531526"/>
              <a:ext cx="661988" cy="952500"/>
            </a:xfrm>
            <a:custGeom>
              <a:avLst/>
              <a:gdLst>
                <a:gd name="T0" fmla="*/ 69 w 177"/>
                <a:gd name="T1" fmla="*/ 181 h 253"/>
                <a:gd name="T2" fmla="*/ 0 w 177"/>
                <a:gd name="T3" fmla="*/ 0 h 253"/>
                <a:gd name="T4" fmla="*/ 47 w 177"/>
                <a:gd name="T5" fmla="*/ 0 h 253"/>
                <a:gd name="T6" fmla="*/ 92 w 177"/>
                <a:gd name="T7" fmla="*/ 133 h 253"/>
                <a:gd name="T8" fmla="*/ 133 w 177"/>
                <a:gd name="T9" fmla="*/ 0 h 253"/>
                <a:gd name="T10" fmla="*/ 177 w 177"/>
                <a:gd name="T11" fmla="*/ 0 h 253"/>
                <a:gd name="T12" fmla="*/ 114 w 177"/>
                <a:gd name="T13" fmla="*/ 178 h 253"/>
                <a:gd name="T14" fmla="*/ 38 w 177"/>
                <a:gd name="T15" fmla="*/ 253 h 253"/>
                <a:gd name="T16" fmla="*/ 17 w 177"/>
                <a:gd name="T17" fmla="*/ 251 h 253"/>
                <a:gd name="T18" fmla="*/ 17 w 177"/>
                <a:gd name="T19" fmla="*/ 215 h 253"/>
                <a:gd name="T20" fmla="*/ 33 w 177"/>
                <a:gd name="T21" fmla="*/ 218 h 253"/>
                <a:gd name="T22" fmla="*/ 66 w 177"/>
                <a:gd name="T23" fmla="*/ 189 h 253"/>
                <a:gd name="T24" fmla="*/ 69 w 177"/>
                <a:gd name="T25" fmla="*/ 18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" h="253">
                  <a:moveTo>
                    <a:pt x="69" y="18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65" y="51"/>
                    <a:pt x="80" y="96"/>
                    <a:pt x="92" y="133"/>
                  </a:cubicBezTo>
                  <a:cubicBezTo>
                    <a:pt x="103" y="97"/>
                    <a:pt x="117" y="49"/>
                    <a:pt x="133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93" y="238"/>
                    <a:pt x="81" y="253"/>
                    <a:pt x="38" y="253"/>
                  </a:cubicBezTo>
                  <a:cubicBezTo>
                    <a:pt x="31" y="253"/>
                    <a:pt x="23" y="252"/>
                    <a:pt x="17" y="251"/>
                  </a:cubicBezTo>
                  <a:cubicBezTo>
                    <a:pt x="17" y="215"/>
                    <a:pt x="17" y="215"/>
                    <a:pt x="17" y="215"/>
                  </a:cubicBezTo>
                  <a:cubicBezTo>
                    <a:pt x="22" y="217"/>
                    <a:pt x="29" y="218"/>
                    <a:pt x="33" y="218"/>
                  </a:cubicBezTo>
                  <a:cubicBezTo>
                    <a:pt x="51" y="218"/>
                    <a:pt x="58" y="213"/>
                    <a:pt x="66" y="189"/>
                  </a:cubicBezTo>
                  <a:lnTo>
                    <a:pt x="69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</p:grp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879D6225-AAAB-4E3F-A474-47B0202D15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gray">
          <a:xfrm>
            <a:off x="6165328" y="8748464"/>
            <a:ext cx="216000" cy="180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lnSpc>
                <a:spcPct val="100000"/>
              </a:lnSpc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140A39-527A-45CF-A911-B921024B9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C3DE0FD1-BEB5-4318-8DEF-192309B4DFF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gray">
          <a:xfrm>
            <a:off x="692695" y="8748464"/>
            <a:ext cx="52200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/>
              <a:t>BayWa r.e. Master 2020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C6FB4-9141-459B-996E-9A9C39DA7D19}"/>
              </a:ext>
            </a:extLst>
          </p:cNvPr>
          <p:cNvSpPr/>
          <p:nvPr/>
        </p:nvSpPr>
        <p:spPr bwMode="gray">
          <a:xfrm>
            <a:off x="6041827" y="8807522"/>
            <a:ext cx="61885" cy="6188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24748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b="1" kern="1200">
        <a:solidFill>
          <a:schemeClr val="accent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66700" indent="-266700" algn="l" defTabSz="914400" rtl="0" eaLnBrk="1" latinLnBrk="0" hangingPunct="1">
      <a:buClr>
        <a:schemeClr val="accent1"/>
      </a:buClr>
      <a:buFont typeface="Wingdings" panose="05000000000000000000" pitchFamily="2" charset="2"/>
      <a:buChar char="n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50850" indent="-18415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28650" indent="-1778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628650" indent="-1778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628650" indent="-1778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628650" indent="-1778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628650" indent="-1778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00038" y="1039813"/>
            <a:ext cx="3176587" cy="17875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140A39-527A-45CF-A911-B921024B92E6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yWa r.e. Master 2021</a:t>
            </a:r>
          </a:p>
        </p:txBody>
      </p:sp>
    </p:spTree>
    <p:extLst>
      <p:ext uri="{BB962C8B-B14F-4D97-AF65-F5344CB8AC3E}">
        <p14:creationId xmlns:p14="http://schemas.microsoft.com/office/powerpoint/2010/main" val="599385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66788"/>
            <a:ext cx="2952750" cy="1660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40A39-527A-45CF-A911-B921024B92E6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BayWa r.e. Master 2020</a:t>
            </a:r>
          </a:p>
        </p:txBody>
      </p:sp>
    </p:spTree>
    <p:extLst>
      <p:ext uri="{BB962C8B-B14F-4D97-AF65-F5344CB8AC3E}">
        <p14:creationId xmlns:p14="http://schemas.microsoft.com/office/powerpoint/2010/main" val="22134645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66788"/>
            <a:ext cx="2952750" cy="1660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40A39-527A-45CF-A911-B921024B92E6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BayWa r.e. Master 2020</a:t>
            </a:r>
          </a:p>
        </p:txBody>
      </p:sp>
    </p:spTree>
    <p:extLst>
      <p:ext uri="{BB962C8B-B14F-4D97-AF65-F5344CB8AC3E}">
        <p14:creationId xmlns:p14="http://schemas.microsoft.com/office/powerpoint/2010/main" val="15062560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66788"/>
            <a:ext cx="2952750" cy="1660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40A39-527A-45CF-A911-B921024B92E6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BayWa r.e. Master 2020</a:t>
            </a:r>
          </a:p>
        </p:txBody>
      </p:sp>
    </p:spTree>
    <p:extLst>
      <p:ext uri="{BB962C8B-B14F-4D97-AF65-F5344CB8AC3E}">
        <p14:creationId xmlns:p14="http://schemas.microsoft.com/office/powerpoint/2010/main" val="7406659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476250" y="966788"/>
            <a:ext cx="2952750" cy="1660525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40A39-527A-45CF-A911-B921024B92E6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BayWa r.e. Master 2020</a:t>
            </a:r>
          </a:p>
        </p:txBody>
      </p:sp>
    </p:spTree>
    <p:extLst>
      <p:ext uri="{BB962C8B-B14F-4D97-AF65-F5344CB8AC3E}">
        <p14:creationId xmlns:p14="http://schemas.microsoft.com/office/powerpoint/2010/main" val="13739673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66788"/>
            <a:ext cx="2952750" cy="1660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40A39-527A-45CF-A911-B921024B92E6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BayWa r.e. Master 2020</a:t>
            </a:r>
          </a:p>
        </p:txBody>
      </p:sp>
    </p:spTree>
    <p:extLst>
      <p:ext uri="{BB962C8B-B14F-4D97-AF65-F5344CB8AC3E}">
        <p14:creationId xmlns:p14="http://schemas.microsoft.com/office/powerpoint/2010/main" val="7913203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itle + 1/2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1E773914-63E0-4980-BEEC-5E303EB378EC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5663503" y="1635324"/>
            <a:ext cx="6528497" cy="5229225"/>
          </a:xfrm>
          <a:solidFill>
            <a:schemeClr val="bg2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6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6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6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6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6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6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6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/>
              <a:t>Optional: To add a picture click the icon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E0B03A5E-A2CC-4265-8332-73E407B526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3519" y="404664"/>
            <a:ext cx="2016000" cy="484994"/>
          </a:xfrm>
          <a:prstGeom prst="rect">
            <a:avLst/>
          </a:prstGeom>
        </p:spPr>
      </p:pic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2C9BFDF0-7E68-4DA1-8F12-0C7958C617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0" y="1635324"/>
            <a:ext cx="8688388" cy="5230800"/>
          </a:xfrm>
          <a:solidFill>
            <a:schemeClr val="accent1">
              <a:alpha val="14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4B813ABD-0FAA-4B9F-BDA0-D7949E9CB5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0" y="1635324"/>
            <a:ext cx="8688288" cy="5230800"/>
          </a:xfrm>
          <a:custGeom>
            <a:avLst/>
            <a:gdLst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688388 w 8688388"/>
              <a:gd name="connsiteY2" fmla="*/ 6502988 h 6843712"/>
              <a:gd name="connsiteX3" fmla="*/ 8489074 w 8688388"/>
              <a:gd name="connsiteY3" fmla="*/ 6843712 h 6843712"/>
              <a:gd name="connsiteX4" fmla="*/ 0 w 8688388"/>
              <a:gd name="connsiteY4" fmla="*/ 6843712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489074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261968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88388" h="6843712">
                <a:moveTo>
                  <a:pt x="0" y="0"/>
                </a:moveTo>
                <a:lnTo>
                  <a:pt x="8688388" y="0"/>
                </a:lnTo>
                <a:lnTo>
                  <a:pt x="8261968" y="6843712"/>
                </a:lnTo>
                <a:lnTo>
                  <a:pt x="0" y="684371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29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AE401327-002F-4F0C-811B-9EFAEABAAF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1635324"/>
            <a:ext cx="8256588" cy="5230800"/>
          </a:xfrm>
          <a:solidFill>
            <a:schemeClr val="accent1">
              <a:alpha val="43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800347A-B6C1-4875-A07F-8FCDBA3CFE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1635324"/>
            <a:ext cx="8262938" cy="5230800"/>
          </a:xfrm>
          <a:custGeom>
            <a:avLst/>
            <a:gdLst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688388 w 8688388"/>
              <a:gd name="connsiteY2" fmla="*/ 6502988 h 6843712"/>
              <a:gd name="connsiteX3" fmla="*/ 8489074 w 8688388"/>
              <a:gd name="connsiteY3" fmla="*/ 6843712 h 6843712"/>
              <a:gd name="connsiteX4" fmla="*/ 0 w 8688388"/>
              <a:gd name="connsiteY4" fmla="*/ 6843712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489074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261968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826196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938" h="6850035">
                <a:moveTo>
                  <a:pt x="0" y="6323"/>
                </a:moveTo>
                <a:lnTo>
                  <a:pt x="8262938" y="0"/>
                </a:lnTo>
                <a:cubicBezTo>
                  <a:pt x="8040365" y="1606732"/>
                  <a:pt x="7608241" y="4851248"/>
                  <a:pt x="7392018" y="6850035"/>
                </a:cubicBezTo>
                <a:lnTo>
                  <a:pt x="0" y="6850035"/>
                </a:lnTo>
                <a:lnTo>
                  <a:pt x="0" y="6323"/>
                </a:lnTo>
                <a:close/>
              </a:path>
            </a:pathLst>
          </a:custGeom>
          <a:solidFill>
            <a:schemeClr val="accent1">
              <a:alpha val="71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4FC925E7-5885-4560-8FF6-7CB6741C80E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0" y="1635324"/>
            <a:ext cx="7391400" cy="5230800"/>
          </a:xfrm>
          <a:solidFill>
            <a:schemeClr val="accent1">
              <a:alpha val="37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1DC07434-1A02-4D63-AFB2-B68A9D1CC4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" y="1635324"/>
            <a:ext cx="7384446" cy="5230800"/>
          </a:xfrm>
          <a:custGeom>
            <a:avLst/>
            <a:gdLst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688388 w 8688388"/>
              <a:gd name="connsiteY2" fmla="*/ 6502988 h 6843712"/>
              <a:gd name="connsiteX3" fmla="*/ 8489074 w 8688388"/>
              <a:gd name="connsiteY3" fmla="*/ 6843712 h 6843712"/>
              <a:gd name="connsiteX4" fmla="*/ 0 w 8688388"/>
              <a:gd name="connsiteY4" fmla="*/ 6843712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489074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261968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826196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7452925"/>
              <a:gd name="connsiteY0" fmla="*/ 6323 h 6850035"/>
              <a:gd name="connsiteX1" fmla="*/ 7384397 w 7452925"/>
              <a:gd name="connsiteY1" fmla="*/ 0 h 6850035"/>
              <a:gd name="connsiteX2" fmla="*/ 7392018 w 7452925"/>
              <a:gd name="connsiteY2" fmla="*/ 6850035 h 6850035"/>
              <a:gd name="connsiteX3" fmla="*/ 0 w 7452925"/>
              <a:gd name="connsiteY3" fmla="*/ 6850035 h 6850035"/>
              <a:gd name="connsiteX4" fmla="*/ 0 w 7452925"/>
              <a:gd name="connsiteY4" fmla="*/ 6323 h 6850035"/>
              <a:gd name="connsiteX0" fmla="*/ 0 w 7384397"/>
              <a:gd name="connsiteY0" fmla="*/ 6323 h 6856831"/>
              <a:gd name="connsiteX1" fmla="*/ 7384397 w 7384397"/>
              <a:gd name="connsiteY1" fmla="*/ 0 h 6856831"/>
              <a:gd name="connsiteX2" fmla="*/ 5645105 w 7384397"/>
              <a:gd name="connsiteY2" fmla="*/ 6856831 h 6856831"/>
              <a:gd name="connsiteX3" fmla="*/ 0 w 7384397"/>
              <a:gd name="connsiteY3" fmla="*/ 6850035 h 6856831"/>
              <a:gd name="connsiteX4" fmla="*/ 0 w 7384397"/>
              <a:gd name="connsiteY4" fmla="*/ 6323 h 6856831"/>
              <a:gd name="connsiteX0" fmla="*/ 0 w 7384397"/>
              <a:gd name="connsiteY0" fmla="*/ 6323 h 6856831"/>
              <a:gd name="connsiteX1" fmla="*/ 7384397 w 7384397"/>
              <a:gd name="connsiteY1" fmla="*/ 0 h 6856831"/>
              <a:gd name="connsiteX2" fmla="*/ 5645105 w 7384397"/>
              <a:gd name="connsiteY2" fmla="*/ 6856831 h 6856831"/>
              <a:gd name="connsiteX3" fmla="*/ 0 w 7384397"/>
              <a:gd name="connsiteY3" fmla="*/ 6850035 h 6856831"/>
              <a:gd name="connsiteX4" fmla="*/ 0 w 7384397"/>
              <a:gd name="connsiteY4" fmla="*/ 6323 h 6856831"/>
              <a:gd name="connsiteX0" fmla="*/ 0 w 7384397"/>
              <a:gd name="connsiteY0" fmla="*/ 6323 h 6856831"/>
              <a:gd name="connsiteX1" fmla="*/ 7384397 w 7384397"/>
              <a:gd name="connsiteY1" fmla="*/ 0 h 6856831"/>
              <a:gd name="connsiteX2" fmla="*/ 5645105 w 7384397"/>
              <a:gd name="connsiteY2" fmla="*/ 6856831 h 6856831"/>
              <a:gd name="connsiteX3" fmla="*/ 0 w 7384397"/>
              <a:gd name="connsiteY3" fmla="*/ 6850035 h 6856831"/>
              <a:gd name="connsiteX4" fmla="*/ 0 w 7384397"/>
              <a:gd name="connsiteY4" fmla="*/ 6323 h 6856831"/>
              <a:gd name="connsiteX0" fmla="*/ 0 w 7384397"/>
              <a:gd name="connsiteY0" fmla="*/ 80 h 6856831"/>
              <a:gd name="connsiteX1" fmla="*/ 7384397 w 7384397"/>
              <a:gd name="connsiteY1" fmla="*/ 0 h 6856831"/>
              <a:gd name="connsiteX2" fmla="*/ 5645105 w 7384397"/>
              <a:gd name="connsiteY2" fmla="*/ 6856831 h 6856831"/>
              <a:gd name="connsiteX3" fmla="*/ 0 w 7384397"/>
              <a:gd name="connsiteY3" fmla="*/ 6850035 h 6856831"/>
              <a:gd name="connsiteX4" fmla="*/ 0 w 7384397"/>
              <a:gd name="connsiteY4" fmla="*/ 80 h 6856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84397" h="6856831">
                <a:moveTo>
                  <a:pt x="0" y="80"/>
                </a:moveTo>
                <a:lnTo>
                  <a:pt x="7384397" y="0"/>
                </a:lnTo>
                <a:cubicBezTo>
                  <a:pt x="7114199" y="1018647"/>
                  <a:pt x="6213753" y="4829589"/>
                  <a:pt x="5645105" y="6856831"/>
                </a:cubicBezTo>
                <a:lnTo>
                  <a:pt x="0" y="6850035"/>
                </a:lnTo>
                <a:lnTo>
                  <a:pt x="0" y="80"/>
                </a:lnTo>
                <a:close/>
              </a:path>
            </a:pathLst>
          </a:custGeom>
          <a:solidFill>
            <a:schemeClr val="accent1">
              <a:alpha val="86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412F5A90-43FA-492A-AEAB-264129C33F5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0" y="1635324"/>
            <a:ext cx="5663503" cy="5230800"/>
          </a:xfrm>
          <a:solidFill>
            <a:schemeClr val="accent1"/>
          </a:solidFill>
        </p:spPr>
        <p:txBody>
          <a:bodyPr lIns="396000" tIns="1440000" rIns="396000" bIns="1440000" anchor="b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Max. triple-spaced titl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71E7EE0-4D83-4B84-8E59-98B80684F7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5542" y="627831"/>
            <a:ext cx="134909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93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7" dur="2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8" dur="2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1" dur="2000" fill="hold"/>
                                            <p:tgtEl>
                                              <p:spTgt spid="2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2" dur="2000" fill="hold"/>
                                            <p:tgtEl>
                                              <p:spTgt spid="2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5" dur="2000" fill="hold"/>
                                            <p:tgtEl>
                                              <p:spTgt spid="2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6" dur="2000" fill="hold"/>
                                            <p:tgtEl>
                                              <p:spTgt spid="2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9" dur="2500" fill="hold"/>
                                            <p:tgtEl>
                                              <p:spTgt spid="3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0" dur="2500" fill="hold"/>
                                            <p:tgtEl>
                                              <p:spTgt spid="3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3" dur="2500" fill="hold"/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4" dur="2500" fill="hold"/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7" dur="2000" fill="hold"/>
                                            <p:tgtEl>
                                              <p:spTgt spid="3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8" dur="2000" fill="hold"/>
                                            <p:tgtEl>
                                              <p:spTgt spid="3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1" dur="2000" fill="hold"/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2" dur="2000" fill="hold"/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5" dur="2500" fill="hold"/>
                                            <p:tgtEl>
                                              <p:spTgt spid="3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6" dur="2500" fill="hold"/>
                                            <p:tgtEl>
                                              <p:spTgt spid="3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9" dur="2500" fill="hold"/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40" dur="2500" fill="hold"/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43" dur="2000" fill="hold"/>
                                            <p:tgtEl>
                                              <p:spTgt spid="37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44" dur="2000" fill="hold"/>
                                            <p:tgtEl>
                                              <p:spTgt spid="37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47" dur="2000" fill="hold"/>
                                            <p:tgtEl>
                                              <p:spTgt spid="37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48" dur="2000" fill="hold"/>
                                            <p:tgtEl>
                                              <p:spTgt spid="37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51" dur="2000" fill="hold"/>
                                            <p:tgtEl>
                                              <p:spTgt spid="3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52" dur="2000" fill="hold"/>
                                            <p:tgtEl>
                                              <p:spTgt spid="3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55" dur="2000" fill="hold"/>
                                            <p:tgtEl>
                                              <p:spTgt spid="3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56" dur="2000" fill="hold"/>
                                            <p:tgtEl>
                                              <p:spTgt spid="3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7" presetID="2" presetClass="entr" presetSubtype="2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9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0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7" grpId="0" animBg="1"/>
          <p:bldP spid="28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2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2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2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2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4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5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6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7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8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9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2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2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2000" fill="hold"/>
                                            <p:tgtEl>
                                              <p:spTgt spid="2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2000" fill="hold"/>
                                            <p:tgtEl>
                                              <p:spTgt spid="2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2500" fill="hold"/>
                                            <p:tgtEl>
                                              <p:spTgt spid="3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2500" fill="hold"/>
                                            <p:tgtEl>
                                              <p:spTgt spid="3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2500" fill="hold"/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2500" fill="hold"/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2000" fill="hold"/>
                                            <p:tgtEl>
                                              <p:spTgt spid="3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2000" fill="hold"/>
                                            <p:tgtEl>
                                              <p:spTgt spid="3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2000" fill="hold"/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2000" fill="hold"/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2500" fill="hold"/>
                                            <p:tgtEl>
                                              <p:spTgt spid="3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2500" fill="hold"/>
                                            <p:tgtEl>
                                              <p:spTgt spid="3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9" dur="2500" fill="hold"/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0" dur="2500" fill="hold"/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3" dur="2000" fill="hold"/>
                                            <p:tgtEl>
                                              <p:spTgt spid="37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4" dur="2000" fill="hold"/>
                                            <p:tgtEl>
                                              <p:spTgt spid="37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7" dur="2000" fill="hold"/>
                                            <p:tgtEl>
                                              <p:spTgt spid="37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8" dur="2000" fill="hold"/>
                                            <p:tgtEl>
                                              <p:spTgt spid="37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1" dur="2000" fill="hold"/>
                                            <p:tgtEl>
                                              <p:spTgt spid="3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2" dur="2000" fill="hold"/>
                                            <p:tgtEl>
                                              <p:spTgt spid="3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5" dur="2000" fill="hold"/>
                                            <p:tgtEl>
                                              <p:spTgt spid="3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6" dur="2000" fill="hold"/>
                                            <p:tgtEl>
                                              <p:spTgt spid="3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7" presetID="2" presetClass="entr" presetSubtype="2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9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0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7" grpId="0" animBg="1"/>
          <p:bldP spid="28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2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2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2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2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4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3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3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3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3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5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3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3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3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3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6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3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3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3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3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7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3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3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3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3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8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3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3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3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3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9" grpId="0" animBg="1"/>
        </p:bldLst>
      </p:timing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agenda 6 poin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B6203FE2-73DC-44BA-B6F3-62B72DFD6D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911225" y="1052808"/>
            <a:ext cx="2881313" cy="720000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2pPr>
            <a:lvl3pPr marL="0" indent="0">
              <a:buNone/>
              <a:defRPr sz="2100" b="0">
                <a:solidFill>
                  <a:schemeClr val="bg1"/>
                </a:solidFill>
              </a:defRPr>
            </a:lvl3pPr>
            <a:lvl4pPr marL="0" indent="0">
              <a:buNone/>
              <a:defRPr sz="2100" b="0">
                <a:solidFill>
                  <a:schemeClr val="bg1"/>
                </a:solidFill>
              </a:defRPr>
            </a:lvl4pPr>
            <a:lvl5pPr marL="0" indent="0">
              <a:buNone/>
              <a:defRPr sz="2100" b="0">
                <a:solidFill>
                  <a:schemeClr val="bg1"/>
                </a:solidFill>
              </a:defRPr>
            </a:lvl5pPr>
            <a:lvl6pPr marL="0" indent="0">
              <a:buNone/>
              <a:defRPr sz="2100" b="0">
                <a:solidFill>
                  <a:schemeClr val="bg1"/>
                </a:solidFill>
              </a:defRPr>
            </a:lvl6pPr>
            <a:lvl7pPr marL="0" indent="0">
              <a:buNone/>
              <a:defRPr sz="2100" b="0">
                <a:solidFill>
                  <a:schemeClr val="bg1"/>
                </a:solidFill>
              </a:defRPr>
            </a:lvl7pPr>
            <a:lvl8pPr marL="0" indent="0">
              <a:buNone/>
              <a:defRPr sz="2100" b="0">
                <a:solidFill>
                  <a:schemeClr val="bg1"/>
                </a:solidFill>
              </a:defRPr>
            </a:lvl8pPr>
            <a:lvl9pPr marL="0" indent="0"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First agenda point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57982D12-3797-4BCF-9C07-45C3F2C5B2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4654847" y="1053925"/>
            <a:ext cx="2881313" cy="720000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2pPr>
            <a:lvl3pPr marL="0" indent="0">
              <a:buNone/>
              <a:defRPr sz="2100" b="0">
                <a:solidFill>
                  <a:schemeClr val="bg1"/>
                </a:solidFill>
              </a:defRPr>
            </a:lvl3pPr>
            <a:lvl4pPr marL="0" indent="0">
              <a:buNone/>
              <a:defRPr sz="2100" b="0">
                <a:solidFill>
                  <a:schemeClr val="bg1"/>
                </a:solidFill>
              </a:defRPr>
            </a:lvl4pPr>
            <a:lvl5pPr marL="0" indent="0">
              <a:buNone/>
              <a:defRPr sz="2100" b="0">
                <a:solidFill>
                  <a:schemeClr val="bg1"/>
                </a:solidFill>
              </a:defRPr>
            </a:lvl5pPr>
            <a:lvl6pPr marL="0" indent="0">
              <a:buNone/>
              <a:defRPr sz="2100" b="0">
                <a:solidFill>
                  <a:schemeClr val="bg1"/>
                </a:solidFill>
              </a:defRPr>
            </a:lvl6pPr>
            <a:lvl7pPr marL="0" indent="0">
              <a:buNone/>
              <a:defRPr sz="2100" b="0">
                <a:solidFill>
                  <a:schemeClr val="bg1"/>
                </a:solidFill>
              </a:defRPr>
            </a:lvl7pPr>
            <a:lvl8pPr marL="0" indent="0">
              <a:buNone/>
              <a:defRPr sz="2100" b="0">
                <a:solidFill>
                  <a:schemeClr val="bg1"/>
                </a:solidFill>
              </a:defRPr>
            </a:lvl8pPr>
            <a:lvl9pPr marL="0" indent="0"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Second agenda point</a:t>
            </a:r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id="{C4F002BD-8FC8-4516-ADE5-2B7D021B198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8400256" y="1055042"/>
            <a:ext cx="2881313" cy="720000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2pPr>
            <a:lvl3pPr marL="0" indent="0">
              <a:buNone/>
              <a:defRPr sz="2100" b="0">
                <a:solidFill>
                  <a:schemeClr val="bg1"/>
                </a:solidFill>
              </a:defRPr>
            </a:lvl3pPr>
            <a:lvl4pPr marL="0" indent="0">
              <a:buNone/>
              <a:defRPr sz="2100" b="0">
                <a:solidFill>
                  <a:schemeClr val="bg1"/>
                </a:solidFill>
              </a:defRPr>
            </a:lvl4pPr>
            <a:lvl5pPr marL="0" indent="0">
              <a:buNone/>
              <a:defRPr sz="2100" b="0">
                <a:solidFill>
                  <a:schemeClr val="bg1"/>
                </a:solidFill>
              </a:defRPr>
            </a:lvl5pPr>
            <a:lvl6pPr marL="0" indent="0">
              <a:buNone/>
              <a:defRPr sz="2100" b="0">
                <a:solidFill>
                  <a:schemeClr val="bg1"/>
                </a:solidFill>
              </a:defRPr>
            </a:lvl6pPr>
            <a:lvl7pPr marL="0" indent="0">
              <a:buNone/>
              <a:defRPr sz="2100" b="0">
                <a:solidFill>
                  <a:schemeClr val="bg1"/>
                </a:solidFill>
              </a:defRPr>
            </a:lvl7pPr>
            <a:lvl8pPr marL="0" indent="0">
              <a:buNone/>
              <a:defRPr sz="2100" b="0">
                <a:solidFill>
                  <a:schemeClr val="bg1"/>
                </a:solidFill>
              </a:defRPr>
            </a:lvl8pPr>
            <a:lvl9pPr marL="0" indent="0"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hird agenda point</a:t>
            </a:r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5F1EE3D3-EE11-4BC3-BC80-5E6D74CA770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910033" y="2135146"/>
            <a:ext cx="2881114" cy="11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20925C97-E973-4B76-BD73-DDEE7EE9AD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black">
          <a:xfrm>
            <a:off x="4653655" y="2135018"/>
            <a:ext cx="2881114" cy="11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7278083B-E7C0-4D63-BF4D-07157E8D934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black">
          <a:xfrm>
            <a:off x="8398865" y="2134890"/>
            <a:ext cx="2881114" cy="11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98E35270-1D8E-4E59-B9AE-EB5E480E9AC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black">
          <a:xfrm>
            <a:off x="912417" y="3642942"/>
            <a:ext cx="2881313" cy="720000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2pPr>
            <a:lvl3pPr marL="0" indent="0">
              <a:buNone/>
              <a:defRPr sz="2100" b="0">
                <a:solidFill>
                  <a:schemeClr val="bg1"/>
                </a:solidFill>
              </a:defRPr>
            </a:lvl3pPr>
            <a:lvl4pPr marL="0" indent="0">
              <a:buNone/>
              <a:defRPr sz="2100" b="0">
                <a:solidFill>
                  <a:schemeClr val="bg1"/>
                </a:solidFill>
              </a:defRPr>
            </a:lvl4pPr>
            <a:lvl5pPr marL="0" indent="0">
              <a:buNone/>
              <a:defRPr sz="2100" b="0">
                <a:solidFill>
                  <a:schemeClr val="bg1"/>
                </a:solidFill>
              </a:defRPr>
            </a:lvl5pPr>
            <a:lvl6pPr marL="0" indent="0">
              <a:buNone/>
              <a:defRPr sz="2100" b="0">
                <a:solidFill>
                  <a:schemeClr val="bg1"/>
                </a:solidFill>
              </a:defRPr>
            </a:lvl6pPr>
            <a:lvl7pPr marL="0" indent="0">
              <a:buNone/>
              <a:defRPr sz="2100" b="0">
                <a:solidFill>
                  <a:schemeClr val="bg1"/>
                </a:solidFill>
              </a:defRPr>
            </a:lvl7pPr>
            <a:lvl8pPr marL="0" indent="0">
              <a:buNone/>
              <a:defRPr sz="2100" b="0">
                <a:solidFill>
                  <a:schemeClr val="bg1"/>
                </a:solidFill>
              </a:defRPr>
            </a:lvl8pPr>
            <a:lvl9pPr marL="0" indent="0"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Fourth agenda point</a:t>
            </a:r>
          </a:p>
        </p:txBody>
      </p: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393A6695-D7FE-416A-9CDB-6E78311E97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black">
          <a:xfrm>
            <a:off x="4656039" y="3644059"/>
            <a:ext cx="2881313" cy="720000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2pPr>
            <a:lvl3pPr marL="0" indent="0">
              <a:buNone/>
              <a:defRPr sz="2100" b="0">
                <a:solidFill>
                  <a:schemeClr val="bg1"/>
                </a:solidFill>
              </a:defRPr>
            </a:lvl3pPr>
            <a:lvl4pPr marL="0" indent="0">
              <a:buNone/>
              <a:defRPr sz="2100" b="0">
                <a:solidFill>
                  <a:schemeClr val="bg1"/>
                </a:solidFill>
              </a:defRPr>
            </a:lvl4pPr>
            <a:lvl5pPr marL="0" indent="0">
              <a:buNone/>
              <a:defRPr sz="2100" b="0">
                <a:solidFill>
                  <a:schemeClr val="bg1"/>
                </a:solidFill>
              </a:defRPr>
            </a:lvl5pPr>
            <a:lvl6pPr marL="0" indent="0">
              <a:buNone/>
              <a:defRPr sz="2100" b="0">
                <a:solidFill>
                  <a:schemeClr val="bg1"/>
                </a:solidFill>
              </a:defRPr>
            </a:lvl6pPr>
            <a:lvl7pPr marL="0" indent="0">
              <a:buNone/>
              <a:defRPr sz="2100" b="0">
                <a:solidFill>
                  <a:schemeClr val="bg1"/>
                </a:solidFill>
              </a:defRPr>
            </a:lvl7pPr>
            <a:lvl8pPr marL="0" indent="0">
              <a:buNone/>
              <a:defRPr sz="2100" b="0">
                <a:solidFill>
                  <a:schemeClr val="bg1"/>
                </a:solidFill>
              </a:defRPr>
            </a:lvl8pPr>
            <a:lvl9pPr marL="0" indent="0"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Fifth agenda point</a:t>
            </a:r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DE550246-0BFC-4BB1-A5CE-062A10EB371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black">
          <a:xfrm>
            <a:off x="8401448" y="3645176"/>
            <a:ext cx="2881313" cy="720000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2pPr>
            <a:lvl3pPr marL="0" indent="0">
              <a:buNone/>
              <a:defRPr sz="2100" b="0">
                <a:solidFill>
                  <a:schemeClr val="bg1"/>
                </a:solidFill>
              </a:defRPr>
            </a:lvl3pPr>
            <a:lvl4pPr marL="0" indent="0">
              <a:buNone/>
              <a:defRPr sz="2100" b="0">
                <a:solidFill>
                  <a:schemeClr val="bg1"/>
                </a:solidFill>
              </a:defRPr>
            </a:lvl4pPr>
            <a:lvl5pPr marL="0" indent="0">
              <a:buNone/>
              <a:defRPr sz="2100" b="0">
                <a:solidFill>
                  <a:schemeClr val="bg1"/>
                </a:solidFill>
              </a:defRPr>
            </a:lvl5pPr>
            <a:lvl6pPr marL="0" indent="0">
              <a:buNone/>
              <a:defRPr sz="2100" b="0">
                <a:solidFill>
                  <a:schemeClr val="bg1"/>
                </a:solidFill>
              </a:defRPr>
            </a:lvl6pPr>
            <a:lvl7pPr marL="0" indent="0">
              <a:buNone/>
              <a:defRPr sz="2100" b="0">
                <a:solidFill>
                  <a:schemeClr val="bg1"/>
                </a:solidFill>
              </a:defRPr>
            </a:lvl7pPr>
            <a:lvl8pPr marL="0" indent="0">
              <a:buNone/>
              <a:defRPr sz="2100" b="0">
                <a:solidFill>
                  <a:schemeClr val="bg1"/>
                </a:solidFill>
              </a:defRPr>
            </a:lvl8pPr>
            <a:lvl9pPr marL="0" indent="0"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Sixth agenda point</a:t>
            </a:r>
          </a:p>
        </p:txBody>
      </p:sp>
      <p:sp>
        <p:nvSpPr>
          <p:cNvPr id="35" name="Textplatzhalter 14">
            <a:extLst>
              <a:ext uri="{FF2B5EF4-FFF2-40B4-BE49-F238E27FC236}">
                <a16:creationId xmlns:a16="http://schemas.microsoft.com/office/drawing/2014/main" id="{38AAACAC-41AC-4504-B646-C505F150C8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black">
          <a:xfrm>
            <a:off x="912616" y="4725280"/>
            <a:ext cx="2881114" cy="11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36" name="Textplatzhalter 14">
            <a:extLst>
              <a:ext uri="{FF2B5EF4-FFF2-40B4-BE49-F238E27FC236}">
                <a16:creationId xmlns:a16="http://schemas.microsoft.com/office/drawing/2014/main" id="{8B45A32E-4F11-4C7F-928E-A99B0F0F79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black">
          <a:xfrm>
            <a:off x="4654847" y="4725152"/>
            <a:ext cx="2881114" cy="11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37" name="Textplatzhalter 14">
            <a:extLst>
              <a:ext uri="{FF2B5EF4-FFF2-40B4-BE49-F238E27FC236}">
                <a16:creationId xmlns:a16="http://schemas.microsoft.com/office/drawing/2014/main" id="{59739B57-E117-4286-B66F-46F79CA4EDE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black">
          <a:xfrm>
            <a:off x="8400057" y="4725024"/>
            <a:ext cx="2881114" cy="11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585A9C2C-4A80-4797-BE96-C4BEC1C5CA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911424" y="836736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85674" y="85465"/>
                </a:moveTo>
                <a:cubicBezTo>
                  <a:pt x="181593" y="93712"/>
                  <a:pt x="174648" y="102220"/>
                  <a:pt x="164838" y="110989"/>
                </a:cubicBezTo>
                <a:cubicBezTo>
                  <a:pt x="155028" y="119757"/>
                  <a:pt x="143568" y="127223"/>
                  <a:pt x="130459" y="133387"/>
                </a:cubicBezTo>
                <a:lnTo>
                  <a:pt x="130459" y="156046"/>
                </a:lnTo>
                <a:cubicBezTo>
                  <a:pt x="137751" y="153355"/>
                  <a:pt x="145977" y="149318"/>
                  <a:pt x="155136" y="143935"/>
                </a:cubicBezTo>
                <a:cubicBezTo>
                  <a:pt x="164295" y="138553"/>
                  <a:pt x="171696" y="133170"/>
                  <a:pt x="177339" y="127787"/>
                </a:cubicBezTo>
                <a:lnTo>
                  <a:pt x="177339" y="277155"/>
                </a:lnTo>
                <a:lnTo>
                  <a:pt x="200780" y="277155"/>
                </a:lnTo>
                <a:lnTo>
                  <a:pt x="200780" y="85465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D418C9F0-9FD6-4591-B152-967C280F955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655840" y="836736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5907" y="85465"/>
                </a:moveTo>
                <a:cubicBezTo>
                  <a:pt x="157763" y="85465"/>
                  <a:pt x="143308" y="90174"/>
                  <a:pt x="132542" y="99594"/>
                </a:cubicBezTo>
                <a:cubicBezTo>
                  <a:pt x="121777" y="109013"/>
                  <a:pt x="115570" y="122709"/>
                  <a:pt x="113920" y="140680"/>
                </a:cubicBezTo>
                <a:lnTo>
                  <a:pt x="138012" y="143154"/>
                </a:lnTo>
                <a:cubicBezTo>
                  <a:pt x="138099" y="131173"/>
                  <a:pt x="141528" y="121797"/>
                  <a:pt x="148300" y="115025"/>
                </a:cubicBezTo>
                <a:cubicBezTo>
                  <a:pt x="155071" y="108254"/>
                  <a:pt x="164100" y="104868"/>
                  <a:pt x="175386" y="104868"/>
                </a:cubicBezTo>
                <a:cubicBezTo>
                  <a:pt x="186065" y="104868"/>
                  <a:pt x="194725" y="108058"/>
                  <a:pt x="201366" y="114439"/>
                </a:cubicBezTo>
                <a:cubicBezTo>
                  <a:pt x="208008" y="120820"/>
                  <a:pt x="211328" y="128656"/>
                  <a:pt x="211328" y="137945"/>
                </a:cubicBezTo>
                <a:cubicBezTo>
                  <a:pt x="211328" y="146800"/>
                  <a:pt x="207682" y="156198"/>
                  <a:pt x="200389" y="166139"/>
                </a:cubicBezTo>
                <a:cubicBezTo>
                  <a:pt x="193097" y="176079"/>
                  <a:pt x="179076" y="189557"/>
                  <a:pt x="158327" y="206573"/>
                </a:cubicBezTo>
                <a:cubicBezTo>
                  <a:pt x="144957" y="217512"/>
                  <a:pt x="134735" y="227149"/>
                  <a:pt x="127659" y="235483"/>
                </a:cubicBezTo>
                <a:cubicBezTo>
                  <a:pt x="120583" y="243818"/>
                  <a:pt x="115440" y="252282"/>
                  <a:pt x="112227" y="260877"/>
                </a:cubicBezTo>
                <a:cubicBezTo>
                  <a:pt x="110231" y="266086"/>
                  <a:pt x="109319" y="271512"/>
                  <a:pt x="109493" y="277155"/>
                </a:cubicBezTo>
                <a:lnTo>
                  <a:pt x="235680" y="277155"/>
                </a:lnTo>
                <a:lnTo>
                  <a:pt x="235680" y="254626"/>
                </a:lnTo>
                <a:lnTo>
                  <a:pt x="142049" y="254626"/>
                </a:lnTo>
                <a:cubicBezTo>
                  <a:pt x="144653" y="250372"/>
                  <a:pt x="147952" y="246140"/>
                  <a:pt x="151946" y="241929"/>
                </a:cubicBezTo>
                <a:cubicBezTo>
                  <a:pt x="155939" y="237719"/>
                  <a:pt x="164968" y="229710"/>
                  <a:pt x="179033" y="217903"/>
                </a:cubicBezTo>
                <a:cubicBezTo>
                  <a:pt x="195875" y="203665"/>
                  <a:pt x="207921" y="192466"/>
                  <a:pt x="215170" y="184305"/>
                </a:cubicBezTo>
                <a:cubicBezTo>
                  <a:pt x="222419" y="176144"/>
                  <a:pt x="227606" y="168374"/>
                  <a:pt x="230732" y="160995"/>
                </a:cubicBezTo>
                <a:cubicBezTo>
                  <a:pt x="233857" y="153615"/>
                  <a:pt x="235420" y="146106"/>
                  <a:pt x="235420" y="138466"/>
                </a:cubicBezTo>
                <a:cubicBezTo>
                  <a:pt x="235420" y="123447"/>
                  <a:pt x="230081" y="110858"/>
                  <a:pt x="219402" y="100701"/>
                </a:cubicBezTo>
                <a:cubicBezTo>
                  <a:pt x="208724" y="90543"/>
                  <a:pt x="194225" y="85465"/>
                  <a:pt x="175907" y="8546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35ABC069-5E08-4064-9A74-A7B129C851A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400256" y="836716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2371" y="85485"/>
                </a:moveTo>
                <a:cubicBezTo>
                  <a:pt x="157265" y="85485"/>
                  <a:pt x="144633" y="89804"/>
                  <a:pt x="134476" y="98442"/>
                </a:cubicBezTo>
                <a:cubicBezTo>
                  <a:pt x="124318" y="107080"/>
                  <a:pt x="117807" y="119256"/>
                  <a:pt x="114942" y="134970"/>
                </a:cubicBezTo>
                <a:lnTo>
                  <a:pt x="138382" y="139137"/>
                </a:lnTo>
                <a:cubicBezTo>
                  <a:pt x="140119" y="127677"/>
                  <a:pt x="144025" y="119082"/>
                  <a:pt x="150102" y="113353"/>
                </a:cubicBezTo>
                <a:cubicBezTo>
                  <a:pt x="156180" y="107623"/>
                  <a:pt x="163776" y="104758"/>
                  <a:pt x="172892" y="104758"/>
                </a:cubicBezTo>
                <a:cubicBezTo>
                  <a:pt x="182094" y="104758"/>
                  <a:pt x="189604" y="107579"/>
                  <a:pt x="195421" y="113222"/>
                </a:cubicBezTo>
                <a:cubicBezTo>
                  <a:pt x="201237" y="118865"/>
                  <a:pt x="204146" y="125984"/>
                  <a:pt x="204146" y="134579"/>
                </a:cubicBezTo>
                <a:cubicBezTo>
                  <a:pt x="204146" y="145431"/>
                  <a:pt x="200152" y="153462"/>
                  <a:pt x="192165" y="158671"/>
                </a:cubicBezTo>
                <a:cubicBezTo>
                  <a:pt x="184178" y="163880"/>
                  <a:pt x="175192" y="166484"/>
                  <a:pt x="165209" y="166484"/>
                </a:cubicBezTo>
                <a:cubicBezTo>
                  <a:pt x="164254" y="166484"/>
                  <a:pt x="162995" y="166397"/>
                  <a:pt x="161432" y="166224"/>
                </a:cubicBezTo>
                <a:lnTo>
                  <a:pt x="158828" y="186799"/>
                </a:lnTo>
                <a:cubicBezTo>
                  <a:pt x="165426" y="185063"/>
                  <a:pt x="170938" y="184195"/>
                  <a:pt x="175366" y="184195"/>
                </a:cubicBezTo>
                <a:cubicBezTo>
                  <a:pt x="186218" y="184195"/>
                  <a:pt x="195160" y="187689"/>
                  <a:pt x="202192" y="194678"/>
                </a:cubicBezTo>
                <a:cubicBezTo>
                  <a:pt x="209224" y="201667"/>
                  <a:pt x="212741" y="210544"/>
                  <a:pt x="212741" y="221309"/>
                </a:cubicBezTo>
                <a:cubicBezTo>
                  <a:pt x="212741" y="232595"/>
                  <a:pt x="208942" y="242058"/>
                  <a:pt x="201346" y="249698"/>
                </a:cubicBezTo>
                <a:cubicBezTo>
                  <a:pt x="193749" y="257338"/>
                  <a:pt x="184438" y="261158"/>
                  <a:pt x="173413" y="261158"/>
                </a:cubicBezTo>
                <a:cubicBezTo>
                  <a:pt x="164123" y="261158"/>
                  <a:pt x="156245" y="258227"/>
                  <a:pt x="149777" y="252367"/>
                </a:cubicBezTo>
                <a:cubicBezTo>
                  <a:pt x="143309" y="246507"/>
                  <a:pt x="138730" y="236936"/>
                  <a:pt x="136038" y="223653"/>
                </a:cubicBezTo>
                <a:lnTo>
                  <a:pt x="112598" y="226778"/>
                </a:lnTo>
                <a:cubicBezTo>
                  <a:pt x="114161" y="242666"/>
                  <a:pt x="120476" y="255601"/>
                  <a:pt x="131546" y="265585"/>
                </a:cubicBezTo>
                <a:cubicBezTo>
                  <a:pt x="142615" y="275569"/>
                  <a:pt x="156527" y="280561"/>
                  <a:pt x="173282" y="280561"/>
                </a:cubicBezTo>
                <a:cubicBezTo>
                  <a:pt x="191861" y="280561"/>
                  <a:pt x="207228" y="274766"/>
                  <a:pt x="219382" y="263176"/>
                </a:cubicBezTo>
                <a:cubicBezTo>
                  <a:pt x="231536" y="251586"/>
                  <a:pt x="237613" y="237457"/>
                  <a:pt x="237613" y="220788"/>
                </a:cubicBezTo>
                <a:cubicBezTo>
                  <a:pt x="237613" y="208460"/>
                  <a:pt x="234488" y="198194"/>
                  <a:pt x="228237" y="189990"/>
                </a:cubicBezTo>
                <a:cubicBezTo>
                  <a:pt x="221986" y="181786"/>
                  <a:pt x="213218" y="176381"/>
                  <a:pt x="201932" y="173777"/>
                </a:cubicBezTo>
                <a:cubicBezTo>
                  <a:pt x="210614" y="169783"/>
                  <a:pt x="217168" y="164401"/>
                  <a:pt x="221596" y="157629"/>
                </a:cubicBezTo>
                <a:cubicBezTo>
                  <a:pt x="226023" y="150857"/>
                  <a:pt x="228237" y="143348"/>
                  <a:pt x="228237" y="135100"/>
                </a:cubicBezTo>
                <a:cubicBezTo>
                  <a:pt x="228237" y="126418"/>
                  <a:pt x="225915" y="118214"/>
                  <a:pt x="221270" y="110488"/>
                </a:cubicBezTo>
                <a:cubicBezTo>
                  <a:pt x="216626" y="102761"/>
                  <a:pt x="209919" y="96662"/>
                  <a:pt x="201151" y="92191"/>
                </a:cubicBezTo>
                <a:cubicBezTo>
                  <a:pt x="192382" y="87720"/>
                  <a:pt x="182789" y="85485"/>
                  <a:pt x="172371" y="8548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51" name="Textplatzhalter 50">
            <a:extLst>
              <a:ext uri="{FF2B5EF4-FFF2-40B4-BE49-F238E27FC236}">
                <a16:creationId xmlns:a16="http://schemas.microsoft.com/office/drawing/2014/main" id="{8F9E893B-362F-4055-9E82-765352E19E7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11449" y="3429000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87647" y="123901"/>
                </a:moveTo>
                <a:lnTo>
                  <a:pt x="187647" y="209979"/>
                </a:lnTo>
                <a:lnTo>
                  <a:pt x="127874" y="209979"/>
                </a:lnTo>
                <a:close/>
                <a:moveTo>
                  <a:pt x="191945" y="86266"/>
                </a:moveTo>
                <a:lnTo>
                  <a:pt x="104824" y="209979"/>
                </a:lnTo>
                <a:lnTo>
                  <a:pt x="104824" y="231466"/>
                </a:lnTo>
                <a:lnTo>
                  <a:pt x="187647" y="231466"/>
                </a:lnTo>
                <a:lnTo>
                  <a:pt x="187647" y="277175"/>
                </a:lnTo>
                <a:lnTo>
                  <a:pt x="211088" y="277175"/>
                </a:lnTo>
                <a:lnTo>
                  <a:pt x="211088" y="231466"/>
                </a:lnTo>
                <a:lnTo>
                  <a:pt x="236872" y="231466"/>
                </a:lnTo>
                <a:lnTo>
                  <a:pt x="236872" y="209979"/>
                </a:lnTo>
                <a:lnTo>
                  <a:pt x="211088" y="209979"/>
                </a:lnTo>
                <a:lnTo>
                  <a:pt x="211088" y="86266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BDE23949-3946-429E-9A0F-BB02BF739AB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56039" y="3429040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35127" y="88790"/>
                </a:moveTo>
                <a:lnTo>
                  <a:pt x="116635" y="186850"/>
                </a:lnTo>
                <a:lnTo>
                  <a:pt x="138643" y="189715"/>
                </a:lnTo>
                <a:cubicBezTo>
                  <a:pt x="142116" y="184245"/>
                  <a:pt x="146891" y="179796"/>
                  <a:pt x="152968" y="176367"/>
                </a:cubicBezTo>
                <a:cubicBezTo>
                  <a:pt x="159045" y="172937"/>
                  <a:pt x="165860" y="171223"/>
                  <a:pt x="173413" y="171223"/>
                </a:cubicBezTo>
                <a:cubicBezTo>
                  <a:pt x="185567" y="171223"/>
                  <a:pt x="195399" y="175086"/>
                  <a:pt x="202909" y="182813"/>
                </a:cubicBezTo>
                <a:cubicBezTo>
                  <a:pt x="210418" y="190539"/>
                  <a:pt x="214173" y="201087"/>
                  <a:pt x="214173" y="214457"/>
                </a:cubicBezTo>
                <a:cubicBezTo>
                  <a:pt x="214173" y="228521"/>
                  <a:pt x="210267" y="239808"/>
                  <a:pt x="202453" y="248316"/>
                </a:cubicBezTo>
                <a:cubicBezTo>
                  <a:pt x="194640" y="256824"/>
                  <a:pt x="185090" y="261078"/>
                  <a:pt x="173804" y="261078"/>
                </a:cubicBezTo>
                <a:cubicBezTo>
                  <a:pt x="164427" y="261078"/>
                  <a:pt x="156419" y="258061"/>
                  <a:pt x="149777" y="252027"/>
                </a:cubicBezTo>
                <a:cubicBezTo>
                  <a:pt x="143136" y="245993"/>
                  <a:pt x="138903" y="236986"/>
                  <a:pt x="137080" y="225005"/>
                </a:cubicBezTo>
                <a:lnTo>
                  <a:pt x="112468" y="227089"/>
                </a:lnTo>
                <a:cubicBezTo>
                  <a:pt x="114031" y="243150"/>
                  <a:pt x="120303" y="256042"/>
                  <a:pt x="131285" y="265766"/>
                </a:cubicBezTo>
                <a:cubicBezTo>
                  <a:pt x="142268" y="275489"/>
                  <a:pt x="156440" y="280351"/>
                  <a:pt x="173804" y="280351"/>
                </a:cubicBezTo>
                <a:cubicBezTo>
                  <a:pt x="194987" y="280351"/>
                  <a:pt x="211699" y="272624"/>
                  <a:pt x="223940" y="257171"/>
                </a:cubicBezTo>
                <a:cubicBezTo>
                  <a:pt x="234011" y="244582"/>
                  <a:pt x="239046" y="229650"/>
                  <a:pt x="239046" y="212374"/>
                </a:cubicBezTo>
                <a:cubicBezTo>
                  <a:pt x="239046" y="194229"/>
                  <a:pt x="233316" y="179383"/>
                  <a:pt x="221857" y="167837"/>
                </a:cubicBezTo>
                <a:cubicBezTo>
                  <a:pt x="210397" y="156290"/>
                  <a:pt x="196332" y="150517"/>
                  <a:pt x="179664" y="150517"/>
                </a:cubicBezTo>
                <a:cubicBezTo>
                  <a:pt x="167075" y="150517"/>
                  <a:pt x="155051" y="154510"/>
                  <a:pt x="143592" y="162498"/>
                </a:cubicBezTo>
                <a:lnTo>
                  <a:pt x="153879" y="111189"/>
                </a:lnTo>
                <a:lnTo>
                  <a:pt x="230061" y="111189"/>
                </a:lnTo>
                <a:lnTo>
                  <a:pt x="230061" y="88790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AF5DA7AB-E9ED-440E-B3C9-B02141DC3D8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01448" y="3429040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6448" y="174037"/>
                </a:moveTo>
                <a:cubicBezTo>
                  <a:pt x="187126" y="174037"/>
                  <a:pt x="195982" y="177836"/>
                  <a:pt x="203014" y="185432"/>
                </a:cubicBezTo>
                <a:cubicBezTo>
                  <a:pt x="210046" y="193028"/>
                  <a:pt x="213562" y="203425"/>
                  <a:pt x="213562" y="216621"/>
                </a:cubicBezTo>
                <a:cubicBezTo>
                  <a:pt x="213562" y="230338"/>
                  <a:pt x="210002" y="241190"/>
                  <a:pt x="202883" y="249177"/>
                </a:cubicBezTo>
                <a:cubicBezTo>
                  <a:pt x="195765" y="257164"/>
                  <a:pt x="187257" y="261158"/>
                  <a:pt x="177359" y="261158"/>
                </a:cubicBezTo>
                <a:cubicBezTo>
                  <a:pt x="170588" y="261158"/>
                  <a:pt x="164120" y="259226"/>
                  <a:pt x="157956" y="255363"/>
                </a:cubicBezTo>
                <a:cubicBezTo>
                  <a:pt x="151792" y="251499"/>
                  <a:pt x="146995" y="245878"/>
                  <a:pt x="143566" y="238499"/>
                </a:cubicBezTo>
                <a:cubicBezTo>
                  <a:pt x="140137" y="231119"/>
                  <a:pt x="138422" y="223392"/>
                  <a:pt x="138422" y="215319"/>
                </a:cubicBezTo>
                <a:cubicBezTo>
                  <a:pt x="138422" y="202991"/>
                  <a:pt x="142112" y="193028"/>
                  <a:pt x="149491" y="185432"/>
                </a:cubicBezTo>
                <a:cubicBezTo>
                  <a:pt x="156871" y="177836"/>
                  <a:pt x="165856" y="174037"/>
                  <a:pt x="176448" y="174037"/>
                </a:cubicBezTo>
                <a:close/>
                <a:moveTo>
                  <a:pt x="179964" y="85485"/>
                </a:moveTo>
                <a:cubicBezTo>
                  <a:pt x="159823" y="85485"/>
                  <a:pt x="143805" y="92777"/>
                  <a:pt x="131911" y="107362"/>
                </a:cubicBezTo>
                <a:cubicBezTo>
                  <a:pt x="118281" y="124118"/>
                  <a:pt x="111466" y="150944"/>
                  <a:pt x="111466" y="187841"/>
                </a:cubicBezTo>
                <a:cubicBezTo>
                  <a:pt x="111466" y="220831"/>
                  <a:pt x="117630" y="244511"/>
                  <a:pt x="129958" y="258879"/>
                </a:cubicBezTo>
                <a:cubicBezTo>
                  <a:pt x="142286" y="273247"/>
                  <a:pt x="158216" y="280431"/>
                  <a:pt x="177750" y="280431"/>
                </a:cubicBezTo>
                <a:cubicBezTo>
                  <a:pt x="189210" y="280431"/>
                  <a:pt x="199454" y="277696"/>
                  <a:pt x="208483" y="272227"/>
                </a:cubicBezTo>
                <a:cubicBezTo>
                  <a:pt x="217512" y="266757"/>
                  <a:pt x="224609" y="258879"/>
                  <a:pt x="229775" y="248591"/>
                </a:cubicBezTo>
                <a:cubicBezTo>
                  <a:pt x="234940" y="238303"/>
                  <a:pt x="237523" y="227169"/>
                  <a:pt x="237523" y="215188"/>
                </a:cubicBezTo>
                <a:cubicBezTo>
                  <a:pt x="237523" y="196957"/>
                  <a:pt x="232032" y="182090"/>
                  <a:pt x="221050" y="170586"/>
                </a:cubicBezTo>
                <a:cubicBezTo>
                  <a:pt x="210068" y="159083"/>
                  <a:pt x="196763" y="153332"/>
                  <a:pt x="181136" y="153332"/>
                </a:cubicBezTo>
                <a:cubicBezTo>
                  <a:pt x="172194" y="153332"/>
                  <a:pt x="163642" y="155415"/>
                  <a:pt x="155482" y="159582"/>
                </a:cubicBezTo>
                <a:cubicBezTo>
                  <a:pt x="147321" y="163750"/>
                  <a:pt x="140419" y="170131"/>
                  <a:pt x="134776" y="178725"/>
                </a:cubicBezTo>
                <a:cubicBezTo>
                  <a:pt x="134950" y="159626"/>
                  <a:pt x="137163" y="144910"/>
                  <a:pt x="141417" y="134579"/>
                </a:cubicBezTo>
                <a:cubicBezTo>
                  <a:pt x="145671" y="124248"/>
                  <a:pt x="151488" y="116391"/>
                  <a:pt x="158868" y="111009"/>
                </a:cubicBezTo>
                <a:cubicBezTo>
                  <a:pt x="164511" y="106841"/>
                  <a:pt x="171065" y="104758"/>
                  <a:pt x="178531" y="104758"/>
                </a:cubicBezTo>
                <a:cubicBezTo>
                  <a:pt x="187821" y="104758"/>
                  <a:pt x="195634" y="108100"/>
                  <a:pt x="201972" y="114785"/>
                </a:cubicBezTo>
                <a:cubicBezTo>
                  <a:pt x="205792" y="118952"/>
                  <a:pt x="208744" y="125637"/>
                  <a:pt x="210827" y="134840"/>
                </a:cubicBezTo>
                <a:lnTo>
                  <a:pt x="234137" y="133017"/>
                </a:lnTo>
                <a:cubicBezTo>
                  <a:pt x="232227" y="118171"/>
                  <a:pt x="226476" y="106538"/>
                  <a:pt x="216883" y="98116"/>
                </a:cubicBezTo>
                <a:cubicBezTo>
                  <a:pt x="207289" y="89695"/>
                  <a:pt x="194983" y="85485"/>
                  <a:pt x="179964" y="8548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DD69A0CE-260D-426D-9EC8-EC18C18DB5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11225" y="1916832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502AB94C-CF2C-47CF-A84B-08C69E8ECE2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654847" y="1916874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E0744575-9016-4636-8250-06FE1006920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8399263" y="1916916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Textplatzhalter 4">
            <a:extLst>
              <a:ext uri="{FF2B5EF4-FFF2-40B4-BE49-F238E27FC236}">
                <a16:creationId xmlns:a16="http://schemas.microsoft.com/office/drawing/2014/main" id="{871AC21B-F292-47D2-B2FE-FBFC9BE8E60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911424" y="4509044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8DE39D11-CE0D-48DE-9542-911115F3905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655046" y="4509086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5" name="Textplatzhalter 4">
            <a:extLst>
              <a:ext uri="{FF2B5EF4-FFF2-40B4-BE49-F238E27FC236}">
                <a16:creationId xmlns:a16="http://schemas.microsoft.com/office/drawing/2014/main" id="{FA737A22-A914-4DC7-9990-3C8DAC5E2A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399462" y="4509128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ACD91176-86FB-4D07-95E7-23C8831CCA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07368" y="404813"/>
            <a:ext cx="216241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1815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long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CFEEF-548D-47E7-9F1D-3D21C520F8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140A39-527A-45CF-A911-B921024B92E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86CA4880-D863-4A89-952F-36DED8AB5A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75520" y="2996960"/>
            <a:ext cx="576000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CBE74266-8DAF-4BF1-A34D-95C6C77550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495600" y="2996960"/>
            <a:ext cx="576000" cy="72000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F419869B-D047-4ED8-AD10-1F655C3D77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15680" y="2996960"/>
            <a:ext cx="576000" cy="72000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15A88678-8856-46EF-9C57-E16216A1A3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1775719" y="1628800"/>
            <a:ext cx="8640000" cy="1152000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2pPr>
            <a:lvl3pPr marL="0" indent="0">
              <a:buNone/>
              <a:defRPr sz="3600" b="1">
                <a:solidFill>
                  <a:schemeClr val="bg1"/>
                </a:solidFill>
              </a:defRPr>
            </a:lvl3pPr>
            <a:lvl4pPr marL="0" indent="0">
              <a:buNone/>
              <a:defRPr sz="3600" b="1">
                <a:solidFill>
                  <a:schemeClr val="bg1"/>
                </a:solidFill>
              </a:defRPr>
            </a:lvl4pPr>
            <a:lvl5pPr marL="0" indent="0">
              <a:buNone/>
              <a:defRPr sz="3600" b="1">
                <a:solidFill>
                  <a:schemeClr val="bg1"/>
                </a:solidFill>
              </a:defRPr>
            </a:lvl5pPr>
            <a:lvl6pPr marL="0" indent="0">
              <a:buNone/>
              <a:defRPr sz="3600" b="1">
                <a:solidFill>
                  <a:schemeClr val="bg1"/>
                </a:solidFill>
              </a:defRPr>
            </a:lvl6pPr>
            <a:lvl7pPr marL="0" indent="0">
              <a:buNone/>
              <a:defRPr sz="3600" b="1">
                <a:solidFill>
                  <a:schemeClr val="bg1"/>
                </a:solidFill>
              </a:defRPr>
            </a:lvl7pPr>
            <a:lvl8pPr marL="0" indent="0">
              <a:buNone/>
              <a:defRPr sz="3600" b="1">
                <a:solidFill>
                  <a:schemeClr val="bg1"/>
                </a:solidFill>
              </a:defRPr>
            </a:lvl8pPr>
            <a:lvl9pPr marL="0" indent="0">
              <a:buNone/>
              <a:defRPr sz="3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the first Agenda point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DFD32A2-7C7E-4B3E-B29B-C7DDF334B2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775719" y="3285112"/>
            <a:ext cx="8640000" cy="11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19B3CC31-8704-4A35-B762-85CFD169C7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0" y="4221163"/>
            <a:ext cx="12192000" cy="2636837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7F52F64D-54C6-4875-B55F-CD3DC5DC26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 flipH="1">
            <a:off x="0" y="4221163"/>
            <a:ext cx="12192000" cy="2636837"/>
          </a:xfrm>
          <a:custGeom>
            <a:avLst/>
            <a:gdLst>
              <a:gd name="connsiteX0" fmla="*/ 0 w 12192000"/>
              <a:gd name="connsiteY0" fmla="*/ 0 h 2636837"/>
              <a:gd name="connsiteX1" fmla="*/ 11864200 w 12192000"/>
              <a:gd name="connsiteY1" fmla="*/ 0 h 2636837"/>
              <a:gd name="connsiteX2" fmla="*/ 12192000 w 12192000"/>
              <a:gd name="connsiteY2" fmla="*/ 408191 h 2636837"/>
              <a:gd name="connsiteX3" fmla="*/ 12192000 w 12192000"/>
              <a:gd name="connsiteY3" fmla="*/ 2636837 h 2636837"/>
              <a:gd name="connsiteX4" fmla="*/ 0 w 12192000"/>
              <a:gd name="connsiteY4" fmla="*/ 2636837 h 2636837"/>
              <a:gd name="connsiteX0" fmla="*/ 0 w 12192000"/>
              <a:gd name="connsiteY0" fmla="*/ 0 h 2636837"/>
              <a:gd name="connsiteX1" fmla="*/ 12192000 w 12192000"/>
              <a:gd name="connsiteY1" fmla="*/ 408191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  <a:gd name="connsiteX0" fmla="*/ 0 w 12192000"/>
              <a:gd name="connsiteY0" fmla="*/ 0 h 2636837"/>
              <a:gd name="connsiteX1" fmla="*/ 12186024 w 12192000"/>
              <a:gd name="connsiteY1" fmla="*/ 862402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2636837">
                <a:moveTo>
                  <a:pt x="0" y="0"/>
                </a:moveTo>
                <a:lnTo>
                  <a:pt x="12186024" y="862402"/>
                </a:lnTo>
                <a:lnTo>
                  <a:pt x="12192000" y="2636837"/>
                </a:lnTo>
                <a:lnTo>
                  <a:pt x="0" y="263683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CFFCF637-90A9-46B5-94EF-7389915673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0" y="5085184"/>
            <a:ext cx="12192000" cy="1772816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27BEF6F6-A3AE-4726-86D5-3CEE987F38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 flipH="1">
            <a:off x="0" y="5085184"/>
            <a:ext cx="12192000" cy="1772816"/>
          </a:xfrm>
          <a:custGeom>
            <a:avLst/>
            <a:gdLst>
              <a:gd name="connsiteX0" fmla="*/ 0 w 12192000"/>
              <a:gd name="connsiteY0" fmla="*/ 0 h 2636837"/>
              <a:gd name="connsiteX1" fmla="*/ 11864200 w 12192000"/>
              <a:gd name="connsiteY1" fmla="*/ 0 h 2636837"/>
              <a:gd name="connsiteX2" fmla="*/ 12192000 w 12192000"/>
              <a:gd name="connsiteY2" fmla="*/ 408191 h 2636837"/>
              <a:gd name="connsiteX3" fmla="*/ 12192000 w 12192000"/>
              <a:gd name="connsiteY3" fmla="*/ 2636837 h 2636837"/>
              <a:gd name="connsiteX4" fmla="*/ 0 w 12192000"/>
              <a:gd name="connsiteY4" fmla="*/ 2636837 h 2636837"/>
              <a:gd name="connsiteX0" fmla="*/ 0 w 12192000"/>
              <a:gd name="connsiteY0" fmla="*/ 0 h 2636837"/>
              <a:gd name="connsiteX1" fmla="*/ 12192000 w 12192000"/>
              <a:gd name="connsiteY1" fmla="*/ 408191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  <a:gd name="connsiteX0" fmla="*/ 0 w 12192000"/>
              <a:gd name="connsiteY0" fmla="*/ 0 h 2636837"/>
              <a:gd name="connsiteX1" fmla="*/ 12186024 w 12192000"/>
              <a:gd name="connsiteY1" fmla="*/ 862402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  <a:gd name="connsiteX0" fmla="*/ 0 w 12192000"/>
              <a:gd name="connsiteY0" fmla="*/ 0 h 2636837"/>
              <a:gd name="connsiteX1" fmla="*/ 12192000 w 12192000"/>
              <a:gd name="connsiteY1" fmla="*/ 2636837 h 2636837"/>
              <a:gd name="connsiteX2" fmla="*/ 0 w 12192000"/>
              <a:gd name="connsiteY2" fmla="*/ 2636837 h 2636837"/>
              <a:gd name="connsiteX3" fmla="*/ 0 w 12192000"/>
              <a:gd name="connsiteY3" fmla="*/ 0 h 2636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636837">
                <a:moveTo>
                  <a:pt x="0" y="0"/>
                </a:moveTo>
                <a:lnTo>
                  <a:pt x="12192000" y="2636837"/>
                </a:lnTo>
                <a:lnTo>
                  <a:pt x="0" y="263683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B4C95264-87C3-41D9-BF23-B796F18F65D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935824" y="2996960"/>
            <a:ext cx="576000" cy="72000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AEE66837-2DD2-4D77-9D5C-D29580F16C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655968" y="2996960"/>
            <a:ext cx="576000" cy="72000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6" name="Textplatzhalter 4">
            <a:extLst>
              <a:ext uri="{FF2B5EF4-FFF2-40B4-BE49-F238E27FC236}">
                <a16:creationId xmlns:a16="http://schemas.microsoft.com/office/drawing/2014/main" id="{F4DC1A4C-CF21-4379-BA55-B2B4FBA9DC3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376112" y="2996960"/>
            <a:ext cx="576000" cy="72000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A7C38E61-0087-443E-8A4F-1DE6529407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07368" y="404813"/>
            <a:ext cx="216241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1260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3B140A39-527A-45CF-A911-B921024B9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7EF156B-ABD0-4789-83F1-51E686581D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GB"/>
              <a:t>BayWa r.e. Company Presentation 20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8126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1556915"/>
            <a:ext cx="5472000" cy="482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3B140A39-527A-45CF-A911-B921024B9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3AFD8-5FF3-478A-90C4-E2B75445371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2632" y="1557328"/>
            <a:ext cx="5472000" cy="482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CDAB22B-4654-4B5B-A359-3026A5D5754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GB"/>
              <a:t>BayWa r.e. Company Presentation 20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645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  <p15:guide id="2" pos="3976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1557328"/>
            <a:ext cx="3528000" cy="482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3B140A39-527A-45CF-A911-B921024B9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3AFD8-5FF3-478A-90C4-E2B75445371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296216" y="1557328"/>
            <a:ext cx="3600000" cy="482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7EAB4C6-5D44-4E06-8CE0-3E354C13AD53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8256648" y="1557328"/>
            <a:ext cx="3528000" cy="482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F1C2510-CD90-4B63-B9D4-7928C936AD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GB"/>
              <a:t>BayWa r.e. Company Presentation 20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810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479" userDrawn="1">
          <p15:clr>
            <a:srgbClr val="FBAE40"/>
          </p15:clr>
        </p15:guide>
        <p15:guide id="4" pos="2706" userDrawn="1">
          <p15:clr>
            <a:srgbClr val="FBAE40"/>
          </p15:clr>
        </p15:guide>
        <p15:guide id="5" pos="4974" userDrawn="1">
          <p15:clr>
            <a:srgbClr val="FBAE40"/>
          </p15:clr>
        </p15:guide>
        <p15:guide id="6" pos="5201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+ three 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1556792"/>
            <a:ext cx="3528000" cy="36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3AFD8-5FF3-478A-90C4-E2B75445371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296192" y="1556792"/>
            <a:ext cx="3600000" cy="36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7EAB4C6-5D44-4E06-8CE0-3E354C13AD53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8256632" y="1556792"/>
            <a:ext cx="3528000" cy="36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BAAF67-105C-4D80-8280-653A329FDE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859" y="5372534"/>
            <a:ext cx="3528000" cy="1008000"/>
          </a:xfrm>
          <a:prstGeom prst="roundRect">
            <a:avLst>
              <a:gd name="adj" fmla="val 5880"/>
            </a:avLst>
          </a:prstGeom>
          <a:solidFill>
            <a:schemeClr val="accent1"/>
          </a:solidFill>
        </p:spPr>
        <p:txBody>
          <a:bodyPr lIns="108000" tIns="72000" rIns="648000" bIns="72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 conclusion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9A48053A-DE3C-4A86-A5D0-44B5AAFC5E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296200" y="5372931"/>
            <a:ext cx="3600000" cy="1008000"/>
          </a:xfrm>
          <a:prstGeom prst="roundRect">
            <a:avLst>
              <a:gd name="adj" fmla="val 5880"/>
            </a:avLst>
          </a:prstGeom>
          <a:solidFill>
            <a:schemeClr val="accent1"/>
          </a:solidFill>
        </p:spPr>
        <p:txBody>
          <a:bodyPr lIns="108000" tIns="72000" rIns="648000" bIns="72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 conclusion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A6574D81-C909-4937-AD9A-C2622257264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256632" y="5373328"/>
            <a:ext cx="3528000" cy="1008000"/>
          </a:xfrm>
          <a:prstGeom prst="roundRect">
            <a:avLst>
              <a:gd name="adj" fmla="val 5880"/>
            </a:avLst>
          </a:prstGeom>
          <a:solidFill>
            <a:schemeClr val="accent1"/>
          </a:solidFill>
        </p:spPr>
        <p:txBody>
          <a:bodyPr lIns="108000" tIns="72000" rIns="648000" bIns="72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 conclusi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1CC0DD43-95D6-42EE-B328-0CE023A73A8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431704" y="5517272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0973" y="230510"/>
                </a:moveTo>
                <a:lnTo>
                  <a:pt x="170973" y="261875"/>
                </a:lnTo>
                <a:lnTo>
                  <a:pt x="202338" y="261875"/>
                </a:lnTo>
                <a:lnTo>
                  <a:pt x="202338" y="230510"/>
                </a:lnTo>
                <a:close/>
                <a:moveTo>
                  <a:pt x="169633" y="98239"/>
                </a:moveTo>
                <a:lnTo>
                  <a:pt x="169633" y="136636"/>
                </a:lnTo>
                <a:lnTo>
                  <a:pt x="177782" y="219682"/>
                </a:lnTo>
                <a:lnTo>
                  <a:pt x="195530" y="219682"/>
                </a:lnTo>
                <a:lnTo>
                  <a:pt x="203566" y="136636"/>
                </a:lnTo>
                <a:lnTo>
                  <a:pt x="203566" y="98239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5670444-485C-4BE0-A354-91B0686EF38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r>
              <a:rPr lang="en-GB"/>
              <a:t>BayWa r.e. Company Presentation 2022</a:t>
            </a:r>
            <a:endParaRPr lang="en-US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44EA50C7-93FB-484E-80A3-8425C2AFB52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392184" y="5517272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0973" y="230510"/>
                </a:moveTo>
                <a:lnTo>
                  <a:pt x="170973" y="261875"/>
                </a:lnTo>
                <a:lnTo>
                  <a:pt x="202338" y="261875"/>
                </a:lnTo>
                <a:lnTo>
                  <a:pt x="202338" y="230510"/>
                </a:lnTo>
                <a:close/>
                <a:moveTo>
                  <a:pt x="169633" y="98239"/>
                </a:moveTo>
                <a:lnTo>
                  <a:pt x="169633" y="136636"/>
                </a:lnTo>
                <a:lnTo>
                  <a:pt x="177782" y="219682"/>
                </a:lnTo>
                <a:lnTo>
                  <a:pt x="195530" y="219682"/>
                </a:lnTo>
                <a:lnTo>
                  <a:pt x="203566" y="136636"/>
                </a:lnTo>
                <a:lnTo>
                  <a:pt x="203566" y="98239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4B17601A-47BC-46EA-BD01-C3C3425546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1280576" y="5517272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0973" y="230510"/>
                </a:moveTo>
                <a:lnTo>
                  <a:pt x="170973" y="261875"/>
                </a:lnTo>
                <a:lnTo>
                  <a:pt x="202338" y="261875"/>
                </a:lnTo>
                <a:lnTo>
                  <a:pt x="202338" y="230510"/>
                </a:lnTo>
                <a:close/>
                <a:moveTo>
                  <a:pt x="169633" y="98239"/>
                </a:moveTo>
                <a:lnTo>
                  <a:pt x="169633" y="136636"/>
                </a:lnTo>
                <a:lnTo>
                  <a:pt x="177782" y="219682"/>
                </a:lnTo>
                <a:lnTo>
                  <a:pt x="195530" y="219682"/>
                </a:lnTo>
                <a:lnTo>
                  <a:pt x="203566" y="136636"/>
                </a:lnTo>
                <a:lnTo>
                  <a:pt x="203566" y="98239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50439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479" userDrawn="1">
          <p15:clr>
            <a:srgbClr val="FBAE40"/>
          </p15:clr>
        </p15:guide>
        <p15:guide id="4" pos="2706" userDrawn="1">
          <p15:clr>
            <a:srgbClr val="FBAE40"/>
          </p15:clr>
        </p15:guide>
        <p15:guide id="5" pos="4974" userDrawn="1">
          <p15:clr>
            <a:srgbClr val="FBAE40"/>
          </p15:clr>
        </p15:guide>
        <p15:guide id="6" pos="5201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2709328"/>
            <a:ext cx="2520000" cy="36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3AFD8-5FF3-478A-90C4-E2B75445371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3358934" y="2709328"/>
            <a:ext cx="2520000" cy="36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7EAB4C6-5D44-4E06-8CE0-3E354C13AD53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6311262" y="2709328"/>
            <a:ext cx="2520000" cy="36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34AEE64C-E843-4352-9F81-8DAA088EB7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264352" y="1556766"/>
            <a:ext cx="2520000" cy="4824000"/>
          </a:xfrm>
          <a:prstGeom prst="roundRect">
            <a:avLst>
              <a:gd name="adj" fmla="val 4643"/>
            </a:avLst>
          </a:prstGeom>
          <a:solidFill>
            <a:schemeClr val="accent1"/>
          </a:solidFill>
        </p:spPr>
        <p:txBody>
          <a:bodyPr lIns="108000" tIns="72000" rIns="108000" bIns="72000" anchor="ctr"/>
          <a:lstStyle>
            <a:lvl1pPr marL="0" indent="0"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2pPr>
            <a:lvl3pPr marL="0" indent="0">
              <a:buNone/>
              <a:defRPr sz="2800"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4pPr>
            <a:lvl5pPr marL="0" indent="0">
              <a:buNone/>
              <a:defRPr sz="2800" b="1">
                <a:solidFill>
                  <a:schemeClr val="bg1"/>
                </a:solidFill>
              </a:defRPr>
            </a:lvl5pPr>
            <a:lvl6pPr marL="0" indent="0">
              <a:buNone/>
              <a:defRPr sz="2800" b="1">
                <a:solidFill>
                  <a:schemeClr val="bg1"/>
                </a:solidFill>
              </a:defRPr>
            </a:lvl6pPr>
            <a:lvl7pPr marL="0" indent="0">
              <a:buNone/>
              <a:defRPr sz="2800" b="1">
                <a:solidFill>
                  <a:schemeClr val="bg1"/>
                </a:solidFill>
              </a:defRPr>
            </a:lvl7pPr>
            <a:lvl8pPr marL="0" indent="0">
              <a:buNone/>
              <a:defRPr sz="2800" b="1">
                <a:solidFill>
                  <a:schemeClr val="bg1"/>
                </a:solidFill>
              </a:defRPr>
            </a:lvl8pPr>
            <a:lvl9pPr marL="0" indent="0">
              <a:buNone/>
              <a:defRPr sz="2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 conclusio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D593ED01-5E1F-424D-8E62-C67E205635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07988" y="1556792"/>
            <a:ext cx="2520000" cy="97155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600" b="1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600" b="1">
                <a:solidFill>
                  <a:schemeClr val="accent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E67A4C0E-DB9D-4694-B5E7-69AE776260B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359976" y="1556817"/>
            <a:ext cx="2520000" cy="97155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600" b="1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600" b="1">
                <a:solidFill>
                  <a:schemeClr val="accent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4388F102-CD25-4A51-B32E-69F597E09D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311262" y="1556817"/>
            <a:ext cx="2520000" cy="971550"/>
          </a:xfrm>
        </p:spPr>
        <p:txBody>
          <a:bodyPr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600" b="1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8A44D674-4F8F-4C4D-9409-846336D2380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07988" y="2546904"/>
            <a:ext cx="2520000" cy="18000"/>
          </a:xfrm>
          <a:solidFill>
            <a:schemeClr val="accent1"/>
          </a:solidFill>
          <a:ln>
            <a:noFill/>
          </a:ln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7B44E8C3-302C-4117-A4BE-81601FD1AE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359976" y="2546904"/>
            <a:ext cx="2520000" cy="18000"/>
          </a:xfrm>
          <a:solidFill>
            <a:schemeClr val="accent1"/>
          </a:solidFill>
          <a:ln>
            <a:noFill/>
          </a:ln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181552F9-53D1-4345-94C5-9FB68BDE30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312304" y="2546904"/>
            <a:ext cx="2520000" cy="18000"/>
          </a:xfrm>
          <a:solidFill>
            <a:schemeClr val="accent1"/>
          </a:solidFill>
          <a:ln>
            <a:noFill/>
          </a:ln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F62B44-2FA7-45C4-A21E-5B9640BD370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r>
              <a:rPr lang="en-GB"/>
              <a:t>BayWa r.e. Company Presentation 2022</a:t>
            </a:r>
            <a:endParaRPr lang="en-US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05EA0A7-EF81-4830-A3CB-316F08A491D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280576" y="1700822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0973" y="230510"/>
                </a:moveTo>
                <a:lnTo>
                  <a:pt x="170973" y="261875"/>
                </a:lnTo>
                <a:lnTo>
                  <a:pt x="202338" y="261875"/>
                </a:lnTo>
                <a:lnTo>
                  <a:pt x="202338" y="230510"/>
                </a:lnTo>
                <a:close/>
                <a:moveTo>
                  <a:pt x="169633" y="98239"/>
                </a:moveTo>
                <a:lnTo>
                  <a:pt x="169633" y="136636"/>
                </a:lnTo>
                <a:lnTo>
                  <a:pt x="177782" y="219682"/>
                </a:lnTo>
                <a:lnTo>
                  <a:pt x="195530" y="219682"/>
                </a:lnTo>
                <a:lnTo>
                  <a:pt x="203566" y="136636"/>
                </a:lnTo>
                <a:lnTo>
                  <a:pt x="203566" y="98239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813327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1844" userDrawn="1">
          <p15:clr>
            <a:srgbClr val="FBAE40"/>
          </p15:clr>
        </p15:guide>
        <p15:guide id="4" pos="2116" userDrawn="1">
          <p15:clr>
            <a:srgbClr val="FBAE40"/>
          </p15:clr>
        </p15:guide>
        <p15:guide id="5" pos="3704" userDrawn="1">
          <p15:clr>
            <a:srgbClr val="FBAE40"/>
          </p15:clr>
        </p15:guide>
        <p15:guide id="6" pos="3976" userDrawn="1">
          <p15:clr>
            <a:srgbClr val="FBAE40"/>
          </p15:clr>
        </p15:guide>
        <p15:guide id="7" pos="5564" userDrawn="1">
          <p15:clr>
            <a:srgbClr val="FBAE40"/>
          </p15:clr>
        </p15:guide>
        <p15:guide id="8" pos="583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1557328"/>
            <a:ext cx="2520000" cy="482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3AFD8-5FF3-478A-90C4-E2B75445371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3359976" y="1557328"/>
            <a:ext cx="2520000" cy="482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7EAB4C6-5D44-4E06-8CE0-3E354C13AD53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6312304" y="1557328"/>
            <a:ext cx="2520000" cy="482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E3BA2021-D33F-458C-BDBB-FFAE6223488E}"/>
              </a:ext>
            </a:extLst>
          </p:cNvPr>
          <p:cNvSpPr>
            <a:spLocks noGrp="1"/>
          </p:cNvSpPr>
          <p:nvPr>
            <p:ph idx="15" hasCustomPrompt="1"/>
          </p:nvPr>
        </p:nvSpPr>
        <p:spPr bwMode="gray">
          <a:xfrm>
            <a:off x="9264632" y="1557328"/>
            <a:ext cx="2520000" cy="482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D78A5F6-7BA2-4A48-B255-7F2139D9FFC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/>
              <a:t>BayWa r.e. Company Presentation 20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603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  <p15:guide id="2" pos="3976" userDrawn="1">
          <p15:clr>
            <a:srgbClr val="FBAE40"/>
          </p15:clr>
        </p15:guide>
        <p15:guide id="3" pos="1844" userDrawn="1">
          <p15:clr>
            <a:srgbClr val="FBAE40"/>
          </p15:clr>
        </p15:guide>
        <p15:guide id="4" pos="2116" userDrawn="1">
          <p15:clr>
            <a:srgbClr val="FBAE40"/>
          </p15:clr>
        </p15:guide>
        <p15:guide id="5" pos="5564" userDrawn="1">
          <p15:clr>
            <a:srgbClr val="FBAE40"/>
          </p15:clr>
        </p15:guide>
        <p15:guide id="6" pos="5836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+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2331C1-F248-4F9A-B913-1ECF64853F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8DEEAD-C858-4DE2-9E16-7D3D41A4D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C:\Users\bandelow\Desktop\Zeug\Monitore_Laptop.png">
            <a:extLst>
              <a:ext uri="{FF2B5EF4-FFF2-40B4-BE49-F238E27FC236}">
                <a16:creationId xmlns:a16="http://schemas.microsoft.com/office/drawing/2014/main" id="{CE422849-FBC9-487B-ABCA-17B8177EA7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479426" y="1556856"/>
            <a:ext cx="7712574" cy="4824472"/>
          </a:xfrm>
          <a:prstGeom prst="rect">
            <a:avLst/>
          </a:prstGeom>
          <a:noFill/>
          <a:effectLst>
            <a:outerShdw blurRad="50800" dist="88900" dir="5400000" sx="99000" sy="99000" algn="t" rotWithShape="0">
              <a:prstClr val="black">
                <a:alpha val="3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Bildplatzhalter 26">
            <a:extLst>
              <a:ext uri="{FF2B5EF4-FFF2-40B4-BE49-F238E27FC236}">
                <a16:creationId xmlns:a16="http://schemas.microsoft.com/office/drawing/2014/main" id="{7C824190-9AD9-4367-8086-8CCC2E54D07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505450" y="1898286"/>
            <a:ext cx="6336000" cy="3924000"/>
          </a:xfrm>
          <a:solidFill>
            <a:schemeClr val="accent3"/>
          </a:solidFill>
          <a:ln>
            <a:noFill/>
          </a:ln>
        </p:spPr>
        <p:txBody>
          <a:bodyPr tIns="165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screenshot click the icon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1FD488FB-8431-4D70-A49F-A7D3FB0B81CF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1556856"/>
            <a:ext cx="3528000" cy="36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300D3C2B-7C8F-4158-AD1F-472C48DAD1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859" y="5372598"/>
            <a:ext cx="3528000" cy="1008000"/>
          </a:xfrm>
          <a:prstGeom prst="roundRect">
            <a:avLst>
              <a:gd name="adj" fmla="val 5880"/>
            </a:avLst>
          </a:prstGeom>
          <a:solidFill>
            <a:schemeClr val="accent1"/>
          </a:solidFill>
        </p:spPr>
        <p:txBody>
          <a:bodyPr lIns="108000" tIns="72000" rIns="648000" bIns="72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 conclus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799FD28-8A04-451F-8481-7F33C50A752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GB"/>
              <a:t>BayWa r.e. Company Presentation 2022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7888654-2840-4418-BB9C-CE0F907B25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431704" y="5517336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0973" y="230510"/>
                </a:moveTo>
                <a:lnTo>
                  <a:pt x="170973" y="261875"/>
                </a:lnTo>
                <a:lnTo>
                  <a:pt x="202338" y="261875"/>
                </a:lnTo>
                <a:lnTo>
                  <a:pt x="202338" y="230510"/>
                </a:lnTo>
                <a:close/>
                <a:moveTo>
                  <a:pt x="169633" y="98239"/>
                </a:moveTo>
                <a:lnTo>
                  <a:pt x="169633" y="136636"/>
                </a:lnTo>
                <a:lnTo>
                  <a:pt x="177782" y="219682"/>
                </a:lnTo>
                <a:lnTo>
                  <a:pt x="195530" y="219682"/>
                </a:lnTo>
                <a:lnTo>
                  <a:pt x="203566" y="136636"/>
                </a:lnTo>
                <a:lnTo>
                  <a:pt x="203566" y="98239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697372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BAE40"/>
          </p15:clr>
        </p15:guide>
        <p15:guide id="2" pos="270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1557328"/>
            <a:ext cx="5472000" cy="482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Bildplatzhalter 26">
            <a:extLst>
              <a:ext uri="{FF2B5EF4-FFF2-40B4-BE49-F238E27FC236}">
                <a16:creationId xmlns:a16="http://schemas.microsoft.com/office/drawing/2014/main" id="{0EB1F704-9760-4817-8CE5-8565D533784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312640" y="0"/>
            <a:ext cx="5879360" cy="6858000"/>
          </a:xfrm>
          <a:solidFill>
            <a:schemeClr val="accent3"/>
          </a:solidFill>
        </p:spPr>
        <p:txBody>
          <a:bodyPr tIns="327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530380-BC69-4D52-8EE4-250AB21371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692696"/>
            <a:ext cx="5472000" cy="64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B5AD63C-F78D-41D0-BEC5-55935112CA3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0031412" y="719"/>
            <a:ext cx="2160588" cy="6857999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787AB45C-ED76-42BE-B6E6-A0485E00BD4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0031412" y="0"/>
            <a:ext cx="2160588" cy="6857999"/>
          </a:xfrm>
          <a:custGeom>
            <a:avLst/>
            <a:gdLst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0 w 2160588"/>
              <a:gd name="connsiteY4" fmla="*/ 264906 h 6191250"/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320479 w 2160588"/>
              <a:gd name="connsiteY4" fmla="*/ 0 h 6191250"/>
              <a:gd name="connsiteX0" fmla="*/ 730054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730054 w 2160588"/>
              <a:gd name="connsiteY4" fmla="*/ 0 h 6191250"/>
              <a:gd name="connsiteX0" fmla="*/ 72052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720529 w 2160588"/>
              <a:gd name="connsiteY4" fmla="*/ 0 h 619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588" h="6191250">
                <a:moveTo>
                  <a:pt x="720529" y="0"/>
                </a:moveTo>
                <a:lnTo>
                  <a:pt x="2160588" y="0"/>
                </a:lnTo>
                <a:lnTo>
                  <a:pt x="2160588" y="6191250"/>
                </a:lnTo>
                <a:lnTo>
                  <a:pt x="0" y="6191250"/>
                </a:lnTo>
                <a:lnTo>
                  <a:pt x="720529" y="0"/>
                </a:lnTo>
                <a:close/>
              </a:path>
            </a:pathLst>
          </a:custGeom>
          <a:solidFill>
            <a:schemeClr val="accent1">
              <a:alpha val="6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C780974E-4FC9-4B48-84D2-47CE1BA46FD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0751452" y="0"/>
            <a:ext cx="1440548" cy="6857999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0B0423C0-E70E-4243-BD1A-2255E1A317F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0751442" y="0"/>
            <a:ext cx="1440558" cy="6857999"/>
          </a:xfrm>
          <a:custGeom>
            <a:avLst/>
            <a:gdLst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0 w 2160588"/>
              <a:gd name="connsiteY4" fmla="*/ 264906 h 6191250"/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320479 w 2160588"/>
              <a:gd name="connsiteY4" fmla="*/ 0 h 6191250"/>
              <a:gd name="connsiteX0" fmla="*/ 730054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730054 w 2160588"/>
              <a:gd name="connsiteY4" fmla="*/ 0 h 6191250"/>
              <a:gd name="connsiteX0" fmla="*/ 0 w 2160588"/>
              <a:gd name="connsiteY0" fmla="*/ 619125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0588" h="6191250">
                <a:moveTo>
                  <a:pt x="0" y="6191250"/>
                </a:moveTo>
                <a:lnTo>
                  <a:pt x="2160588" y="0"/>
                </a:lnTo>
                <a:lnTo>
                  <a:pt x="2160588" y="6191250"/>
                </a:lnTo>
                <a:lnTo>
                  <a:pt x="0" y="619125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22727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  <p15:guide id="2" pos="3976" userDrawn="1">
          <p15:clr>
            <a:srgbClr val="FBAE40"/>
          </p15:clr>
        </p15:guide>
        <p15:guide id="7" pos="656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+ 1/4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D0228D2-9D14-413A-AB7E-524051915A7B}"/>
              </a:ext>
            </a:extLst>
          </p:cNvPr>
          <p:cNvSpPr/>
          <p:nvPr userDrawn="1"/>
        </p:nvSpPr>
        <p:spPr bwMode="gray">
          <a:xfrm>
            <a:off x="0" y="1628775"/>
            <a:ext cx="12192000" cy="52292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Bildplatzhalter 26">
            <a:extLst>
              <a:ext uri="{FF2B5EF4-FFF2-40B4-BE49-F238E27FC236}">
                <a16:creationId xmlns:a16="http://schemas.microsoft.com/office/drawing/2014/main" id="{8E27FC97-AAB3-4AFC-8BE3-9873030F29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400256" y="1628775"/>
            <a:ext cx="3791744" cy="5230800"/>
          </a:xfrm>
          <a:solidFill>
            <a:schemeClr val="accent4"/>
          </a:solidFill>
        </p:spPr>
        <p:txBody>
          <a:bodyPr tIns="309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Optional: To add a picture click the ico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0ABA4E6-0523-49AE-B570-6F11E2EDDE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1628775"/>
            <a:ext cx="10128250" cy="5230800"/>
          </a:xfrm>
          <a:solidFill>
            <a:schemeClr val="accent1">
              <a:alpha val="33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39D4DF4-D6FB-46FE-B465-C1A295607C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1628775"/>
            <a:ext cx="10103570" cy="5229224"/>
          </a:xfrm>
          <a:custGeom>
            <a:avLst/>
            <a:gdLst>
              <a:gd name="connsiteX0" fmla="*/ 0 w 10128250"/>
              <a:gd name="connsiteY0" fmla="*/ 0 h 6858000"/>
              <a:gd name="connsiteX1" fmla="*/ 10128250 w 10128250"/>
              <a:gd name="connsiteY1" fmla="*/ 0 h 6858000"/>
              <a:gd name="connsiteX2" fmla="*/ 10128250 w 10128250"/>
              <a:gd name="connsiteY2" fmla="*/ 6490196 h 6858000"/>
              <a:gd name="connsiteX3" fmla="*/ 9742955 w 10128250"/>
              <a:gd name="connsiteY3" fmla="*/ 6858000 h 6858000"/>
              <a:gd name="connsiteX4" fmla="*/ 0 w 10128250"/>
              <a:gd name="connsiteY4" fmla="*/ 6858000 h 6858000"/>
              <a:gd name="connsiteX0" fmla="*/ 0 w 10128250"/>
              <a:gd name="connsiteY0" fmla="*/ 0 h 6858000"/>
              <a:gd name="connsiteX1" fmla="*/ 10128250 w 10128250"/>
              <a:gd name="connsiteY1" fmla="*/ 0 h 6858000"/>
              <a:gd name="connsiteX2" fmla="*/ 9742955 w 10128250"/>
              <a:gd name="connsiteY2" fmla="*/ 6858000 h 6858000"/>
              <a:gd name="connsiteX3" fmla="*/ 0 w 10128250"/>
              <a:gd name="connsiteY3" fmla="*/ 6858000 h 6858000"/>
              <a:gd name="connsiteX4" fmla="*/ 0 w 10128250"/>
              <a:gd name="connsiteY4" fmla="*/ 0 h 6858000"/>
              <a:gd name="connsiteX0" fmla="*/ 0 w 10128250"/>
              <a:gd name="connsiteY0" fmla="*/ 0 h 6858000"/>
              <a:gd name="connsiteX1" fmla="*/ 10128250 w 10128250"/>
              <a:gd name="connsiteY1" fmla="*/ 0 h 6858000"/>
              <a:gd name="connsiteX2" fmla="*/ 8437723 w 10128250"/>
              <a:gd name="connsiteY2" fmla="*/ 6858000 h 6858000"/>
              <a:gd name="connsiteX3" fmla="*/ 0 w 10128250"/>
              <a:gd name="connsiteY3" fmla="*/ 6858000 h 6858000"/>
              <a:gd name="connsiteX4" fmla="*/ 0 w 1012825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250" h="6858000">
                <a:moveTo>
                  <a:pt x="0" y="0"/>
                </a:moveTo>
                <a:lnTo>
                  <a:pt x="10128250" y="0"/>
                </a:lnTo>
                <a:lnTo>
                  <a:pt x="84377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63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A7271BF-E425-4962-BFFD-363A0B4BC1CC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0" y="1628775"/>
            <a:ext cx="8400256" cy="5230800"/>
          </a:xfrm>
          <a:solidFill>
            <a:schemeClr val="accent1"/>
          </a:solidFill>
        </p:spPr>
        <p:txBody>
          <a:bodyPr lIns="396000" tIns="1440000" rIns="396000" bIns="1440000" anchor="b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Max. triple-</a:t>
            </a:r>
            <a:br>
              <a:rPr lang="en-US" noProof="0"/>
            </a:br>
            <a:r>
              <a:rPr lang="en-US" noProof="0"/>
              <a:t>spaced titl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A14DF4D-718B-45D2-9AC1-C932D3156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3519" y="404664"/>
            <a:ext cx="2016000" cy="484994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98F5AB9F-319F-46D3-8686-F823C3E22E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5542" y="627831"/>
            <a:ext cx="134909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514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7" dur="2000" fill="hold"/>
                                            <p:tgtEl>
                                              <p:spTgt spid="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8" dur="2000" fill="hold"/>
                                            <p:tgtEl>
                                              <p:spTgt spid="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1" dur="2000" fill="hold"/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2" dur="2000" fill="hold"/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5" dur="2500" fill="hold"/>
                                            <p:tgtEl>
                                              <p:spTgt spid="3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6" dur="2500" fill="hold"/>
                                            <p:tgtEl>
                                              <p:spTgt spid="3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9" dur="2500" fill="hold"/>
                                            <p:tgtEl>
                                              <p:spTgt spid="3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0" dur="2500" fill="hold"/>
                                            <p:tgtEl>
                                              <p:spTgt spid="3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3" dur="2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4" dur="2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2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 animBg="1"/>
          <p:bldP spid="4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3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2500" fill="hold"/>
                                            <p:tgtEl>
                                              <p:spTgt spid="3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2500" fill="hold"/>
                                            <p:tgtEl>
                                              <p:spTgt spid="3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2500" fill="hold"/>
                                            <p:tgtEl>
                                              <p:spTgt spid="3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2500" fill="hold"/>
                                            <p:tgtEl>
                                              <p:spTgt spid="3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2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2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2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 animBg="1"/>
          <p:bldP spid="4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3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3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3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3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3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pos="63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ig picture + f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26">
            <a:extLst>
              <a:ext uri="{FF2B5EF4-FFF2-40B4-BE49-F238E27FC236}">
                <a16:creationId xmlns:a16="http://schemas.microsoft.com/office/drawing/2014/main" id="{AA83C7F5-CAC0-4B57-8644-C1637EEFAC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solidFill>
            <a:schemeClr val="accent3"/>
          </a:solidFill>
        </p:spPr>
        <p:txBody>
          <a:bodyPr tIns="327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5AF86170-5B57-43AB-8F27-48C48BA38D4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0031412" y="719"/>
            <a:ext cx="2160588" cy="6858000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01416D22-1341-48EB-B2F1-5F85CAA8641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0031412" y="0"/>
            <a:ext cx="2160588" cy="6858000"/>
          </a:xfrm>
          <a:custGeom>
            <a:avLst/>
            <a:gdLst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0 w 2160588"/>
              <a:gd name="connsiteY4" fmla="*/ 264906 h 6191250"/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320479 w 2160588"/>
              <a:gd name="connsiteY4" fmla="*/ 0 h 6191250"/>
              <a:gd name="connsiteX0" fmla="*/ 730054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730054 w 2160588"/>
              <a:gd name="connsiteY4" fmla="*/ 0 h 619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588" h="6191250">
                <a:moveTo>
                  <a:pt x="730054" y="0"/>
                </a:moveTo>
                <a:lnTo>
                  <a:pt x="2160588" y="0"/>
                </a:lnTo>
                <a:lnTo>
                  <a:pt x="2160588" y="6191250"/>
                </a:lnTo>
                <a:lnTo>
                  <a:pt x="0" y="6191250"/>
                </a:lnTo>
                <a:lnTo>
                  <a:pt x="730054" y="0"/>
                </a:lnTo>
                <a:close/>
              </a:path>
            </a:pathLst>
          </a:custGeom>
          <a:solidFill>
            <a:schemeClr val="accent1">
              <a:alpha val="6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5098878-C239-44C5-95F8-91A76A2702F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0751452" y="0"/>
            <a:ext cx="1440548" cy="6858000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ADF262-128E-4A7C-A210-40F8CEF58A4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0751442" y="0"/>
            <a:ext cx="1440558" cy="6858000"/>
          </a:xfrm>
          <a:custGeom>
            <a:avLst/>
            <a:gdLst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0 w 2160588"/>
              <a:gd name="connsiteY4" fmla="*/ 264906 h 6191250"/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320479 w 2160588"/>
              <a:gd name="connsiteY4" fmla="*/ 0 h 6191250"/>
              <a:gd name="connsiteX0" fmla="*/ 730054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730054 w 2160588"/>
              <a:gd name="connsiteY4" fmla="*/ 0 h 6191250"/>
              <a:gd name="connsiteX0" fmla="*/ 0 w 2160588"/>
              <a:gd name="connsiteY0" fmla="*/ 619125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0588" h="6191250">
                <a:moveTo>
                  <a:pt x="0" y="6191250"/>
                </a:moveTo>
                <a:lnTo>
                  <a:pt x="2160588" y="0"/>
                </a:lnTo>
                <a:lnTo>
                  <a:pt x="2160588" y="6191250"/>
                </a:lnTo>
                <a:lnTo>
                  <a:pt x="0" y="619125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2331C1-F248-4F9A-B913-1ECF64853F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57104" y="4365104"/>
            <a:ext cx="7127528" cy="2016000"/>
          </a:xfrm>
          <a:solidFill>
            <a:schemeClr val="bg1"/>
          </a:solidFill>
        </p:spPr>
        <p:txBody>
          <a:bodyPr lIns="288000" tIns="288000" rIns="288000" bIns="288000"/>
          <a:lstStyle>
            <a:lvl1pPr>
              <a:defRPr baseline="0"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7" name="Inhaltsplatzhalter 2">
            <a:extLst>
              <a:ext uri="{FF2B5EF4-FFF2-40B4-BE49-F238E27FC236}">
                <a16:creationId xmlns:a16="http://schemas.microsoft.com/office/drawing/2014/main" id="{D1775ECF-F5E1-4A97-A8F0-5F2D2F77831E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963874" y="5157496"/>
            <a:ext cx="6480000" cy="93580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285750" indent="-285750">
              <a:buClr>
                <a:schemeClr val="accent1"/>
              </a:buClr>
              <a:buFont typeface="Wingdings" panose="05000000000000000000" pitchFamily="2" charset="2"/>
              <a:buChar char="n"/>
              <a:defRPr b="0">
                <a:solidFill>
                  <a:schemeClr val="tx1"/>
                </a:solidFill>
              </a:defRPr>
            </a:lvl2pPr>
            <a:lvl3pPr marL="447675" indent="-180975">
              <a:buClr>
                <a:schemeClr val="tx1"/>
              </a:buClr>
              <a:buFont typeface="Wingdings" panose="05000000000000000000" pitchFamily="2" charset="2"/>
              <a:buChar char="§"/>
              <a:defRPr/>
            </a:lvl3pPr>
            <a:lvl4pPr marL="628650" indent="-180975">
              <a:defRPr/>
            </a:lvl4pPr>
            <a:lvl5pPr marL="809625" indent="-180975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8" name="Textplatzhalter 22">
            <a:extLst>
              <a:ext uri="{FF2B5EF4-FFF2-40B4-BE49-F238E27FC236}">
                <a16:creationId xmlns:a16="http://schemas.microsoft.com/office/drawing/2014/main" id="{30481A47-535D-423B-8B92-C68CA7EF7F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964494" y="5013176"/>
            <a:ext cx="2735262" cy="18000"/>
          </a:xfrm>
          <a:solidFill>
            <a:schemeClr val="accent1"/>
          </a:solidFill>
          <a:ln>
            <a:noFill/>
          </a:ln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539E49AC-0C55-47AB-B2C2-3E02C44DAC6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407988" y="6604793"/>
            <a:ext cx="810000" cy="108000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5C4596C8-FF19-466E-B4B9-2A0CED32FFB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07368" y="404664"/>
            <a:ext cx="215900" cy="216000"/>
          </a:xfrm>
          <a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13134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ig picture + f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26">
            <a:extLst>
              <a:ext uri="{FF2B5EF4-FFF2-40B4-BE49-F238E27FC236}">
                <a16:creationId xmlns:a16="http://schemas.microsoft.com/office/drawing/2014/main" id="{AA83C7F5-CAC0-4B57-8644-C1637EEFAC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solidFill>
            <a:schemeClr val="accent3"/>
          </a:solidFill>
        </p:spPr>
        <p:txBody>
          <a:bodyPr tIns="327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5AF86170-5B57-43AB-8F27-48C48BA38D4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0031412" y="719"/>
            <a:ext cx="2160588" cy="6858000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01416D22-1341-48EB-B2F1-5F85CAA8641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0031412" y="0"/>
            <a:ext cx="2160588" cy="6858000"/>
          </a:xfrm>
          <a:custGeom>
            <a:avLst/>
            <a:gdLst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0 w 2160588"/>
              <a:gd name="connsiteY4" fmla="*/ 264906 h 6191250"/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320479 w 2160588"/>
              <a:gd name="connsiteY4" fmla="*/ 0 h 6191250"/>
              <a:gd name="connsiteX0" fmla="*/ 730054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730054 w 2160588"/>
              <a:gd name="connsiteY4" fmla="*/ 0 h 619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588" h="6191250">
                <a:moveTo>
                  <a:pt x="730054" y="0"/>
                </a:moveTo>
                <a:lnTo>
                  <a:pt x="2160588" y="0"/>
                </a:lnTo>
                <a:lnTo>
                  <a:pt x="2160588" y="6191250"/>
                </a:lnTo>
                <a:lnTo>
                  <a:pt x="0" y="6191250"/>
                </a:lnTo>
                <a:lnTo>
                  <a:pt x="730054" y="0"/>
                </a:lnTo>
                <a:close/>
              </a:path>
            </a:pathLst>
          </a:custGeom>
          <a:solidFill>
            <a:schemeClr val="accent1">
              <a:alpha val="6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5098878-C239-44C5-95F8-91A76A2702F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0751452" y="0"/>
            <a:ext cx="1440548" cy="6858000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ADF262-128E-4A7C-A210-40F8CEF58A4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0751442" y="0"/>
            <a:ext cx="1440558" cy="6858000"/>
          </a:xfrm>
          <a:custGeom>
            <a:avLst/>
            <a:gdLst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0 w 2160588"/>
              <a:gd name="connsiteY4" fmla="*/ 264906 h 6191250"/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320479 w 2160588"/>
              <a:gd name="connsiteY4" fmla="*/ 0 h 6191250"/>
              <a:gd name="connsiteX0" fmla="*/ 730054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730054 w 2160588"/>
              <a:gd name="connsiteY4" fmla="*/ 0 h 6191250"/>
              <a:gd name="connsiteX0" fmla="*/ 0 w 2160588"/>
              <a:gd name="connsiteY0" fmla="*/ 619125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0588" h="6191250">
                <a:moveTo>
                  <a:pt x="0" y="6191250"/>
                </a:moveTo>
                <a:lnTo>
                  <a:pt x="2160588" y="0"/>
                </a:lnTo>
                <a:lnTo>
                  <a:pt x="2160588" y="6191250"/>
                </a:lnTo>
                <a:lnTo>
                  <a:pt x="0" y="619125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2331C1-F248-4F9A-B913-1ECF64853F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57104" y="4365104"/>
            <a:ext cx="7127528" cy="2016000"/>
          </a:xfrm>
          <a:solidFill>
            <a:schemeClr val="bg1"/>
          </a:solidFill>
        </p:spPr>
        <p:txBody>
          <a:bodyPr lIns="288000" tIns="288000" rIns="288000" bIns="288000"/>
          <a:lstStyle>
            <a:lvl1pPr>
              <a:defRPr baseline="0"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7" name="Inhaltsplatzhalter 2">
            <a:extLst>
              <a:ext uri="{FF2B5EF4-FFF2-40B4-BE49-F238E27FC236}">
                <a16:creationId xmlns:a16="http://schemas.microsoft.com/office/drawing/2014/main" id="{D1775ECF-F5E1-4A97-A8F0-5F2D2F77831E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963874" y="5157496"/>
            <a:ext cx="6480000" cy="93580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285750" indent="-285750">
              <a:buClr>
                <a:schemeClr val="accent1"/>
              </a:buClr>
              <a:buFont typeface="Wingdings" panose="05000000000000000000" pitchFamily="2" charset="2"/>
              <a:buChar char="n"/>
              <a:defRPr b="0">
                <a:solidFill>
                  <a:schemeClr val="tx1"/>
                </a:solidFill>
              </a:defRPr>
            </a:lvl2pPr>
            <a:lvl3pPr marL="447675" indent="-180975">
              <a:buClr>
                <a:schemeClr val="tx1"/>
              </a:buClr>
              <a:buFont typeface="Wingdings" panose="05000000000000000000" pitchFamily="2" charset="2"/>
              <a:buChar char="§"/>
              <a:defRPr/>
            </a:lvl3pPr>
            <a:lvl4pPr marL="628650" indent="-180975">
              <a:defRPr/>
            </a:lvl4pPr>
            <a:lvl5pPr marL="809625" indent="-180975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8" name="Textplatzhalter 22">
            <a:extLst>
              <a:ext uri="{FF2B5EF4-FFF2-40B4-BE49-F238E27FC236}">
                <a16:creationId xmlns:a16="http://schemas.microsoft.com/office/drawing/2014/main" id="{30481A47-535D-423B-8B92-C68CA7EF7F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964494" y="5013176"/>
            <a:ext cx="2735262" cy="18000"/>
          </a:xfrm>
          <a:solidFill>
            <a:schemeClr val="accent1"/>
          </a:solidFill>
          <a:ln>
            <a:noFill/>
          </a:ln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539E49AC-0C55-47AB-B2C2-3E02C44DAC6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407988" y="6604793"/>
            <a:ext cx="810000" cy="108000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5C4596C8-FF19-466E-B4B9-2A0CED32FFB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07368" y="404664"/>
            <a:ext cx="215900" cy="216000"/>
          </a:xfrm>
          <a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13134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+ dark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4221328"/>
            <a:ext cx="3528000" cy="21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3AFD8-5FF3-478A-90C4-E2B75445371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296208" y="4221328"/>
            <a:ext cx="3600000" cy="21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7EAB4C6-5D44-4E06-8CE0-3E354C13AD53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8256588" y="4221328"/>
            <a:ext cx="3528044" cy="21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ildplatzhalter 26">
            <a:extLst>
              <a:ext uri="{FF2B5EF4-FFF2-40B4-BE49-F238E27FC236}">
                <a16:creationId xmlns:a16="http://schemas.microsoft.com/office/drawing/2014/main" id="{A31A76E7-8A08-4835-9BB3-DD76DA58382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07368" y="1557033"/>
            <a:ext cx="3528000" cy="2520000"/>
          </a:xfrm>
          <a:solidFill>
            <a:schemeClr val="accent3"/>
          </a:solidFill>
        </p:spPr>
        <p:txBody>
          <a:bodyPr tIns="144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4CDBF24-5390-4A68-BA81-F1A3A4A4EA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7368" y="1557032"/>
            <a:ext cx="647389" cy="2520000"/>
          </a:xfrm>
          <a:solidFill>
            <a:schemeClr val="accent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12E1E28A-E2C5-431B-9D97-9E427B33736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055680" y="1557032"/>
            <a:ext cx="360000" cy="2520000"/>
          </a:xfrm>
          <a:custGeom>
            <a:avLst/>
            <a:gdLst>
              <a:gd name="connsiteX0" fmla="*/ 0 w 719210"/>
              <a:gd name="connsiteY0" fmla="*/ 0 h 6856269"/>
              <a:gd name="connsiteX1" fmla="*/ 719210 w 719210"/>
              <a:gd name="connsiteY1" fmla="*/ 0 h 6856269"/>
              <a:gd name="connsiteX2" fmla="*/ 719210 w 719210"/>
              <a:gd name="connsiteY2" fmla="*/ 6 h 6856269"/>
              <a:gd name="connsiteX3" fmla="*/ 0 w 719210"/>
              <a:gd name="connsiteY3" fmla="*/ 6856269 h 6856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210" h="6856269">
                <a:moveTo>
                  <a:pt x="0" y="0"/>
                </a:moveTo>
                <a:lnTo>
                  <a:pt x="719210" y="0"/>
                </a:lnTo>
                <a:lnTo>
                  <a:pt x="719210" y="6"/>
                </a:lnTo>
                <a:lnTo>
                  <a:pt x="0" y="6856269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1A345EC7-DDC4-4BBD-801A-B4E5E6FA27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055680" y="1557033"/>
            <a:ext cx="360000" cy="252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3399AB04-C995-406D-8DB4-C48AFE53B8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07988" y="3501304"/>
            <a:ext cx="3528000" cy="504000"/>
          </a:xfrm>
        </p:spPr>
        <p:txBody>
          <a:bodyPr lIns="108000" tIns="72000" rIns="108000" bIns="72000"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2" name="Bildplatzhalter 26">
            <a:extLst>
              <a:ext uri="{FF2B5EF4-FFF2-40B4-BE49-F238E27FC236}">
                <a16:creationId xmlns:a16="http://schemas.microsoft.com/office/drawing/2014/main" id="{BDB8699D-2779-445A-AD00-86BCF020EA6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4296216" y="1557032"/>
            <a:ext cx="3600000" cy="2520000"/>
          </a:xfrm>
          <a:solidFill>
            <a:schemeClr val="accent3"/>
          </a:solidFill>
        </p:spPr>
        <p:txBody>
          <a:bodyPr tIns="144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355960B4-F763-4BC9-B03E-9B8DE0C4E97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296216" y="1557031"/>
            <a:ext cx="647389" cy="2520000"/>
          </a:xfrm>
          <a:solidFill>
            <a:schemeClr val="accent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B3885E46-5D2A-4373-92BA-8ADD2730830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944528" y="1557031"/>
            <a:ext cx="360000" cy="2520000"/>
          </a:xfrm>
          <a:custGeom>
            <a:avLst/>
            <a:gdLst>
              <a:gd name="connsiteX0" fmla="*/ 0 w 719210"/>
              <a:gd name="connsiteY0" fmla="*/ 0 h 6856269"/>
              <a:gd name="connsiteX1" fmla="*/ 719210 w 719210"/>
              <a:gd name="connsiteY1" fmla="*/ 0 h 6856269"/>
              <a:gd name="connsiteX2" fmla="*/ 719210 w 719210"/>
              <a:gd name="connsiteY2" fmla="*/ 6 h 6856269"/>
              <a:gd name="connsiteX3" fmla="*/ 0 w 719210"/>
              <a:gd name="connsiteY3" fmla="*/ 6856269 h 6856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210" h="6856269">
                <a:moveTo>
                  <a:pt x="0" y="0"/>
                </a:moveTo>
                <a:lnTo>
                  <a:pt x="719210" y="0"/>
                </a:lnTo>
                <a:lnTo>
                  <a:pt x="719210" y="6"/>
                </a:lnTo>
                <a:lnTo>
                  <a:pt x="0" y="6856269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639D2DE5-0E64-4D3D-8114-68EE7A93873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944528" y="1557032"/>
            <a:ext cx="360000" cy="252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6" name="Textplatzhalter 16">
            <a:extLst>
              <a:ext uri="{FF2B5EF4-FFF2-40B4-BE49-F238E27FC236}">
                <a16:creationId xmlns:a16="http://schemas.microsoft.com/office/drawing/2014/main" id="{9DFBC0CB-6FE8-49D0-AE32-4AC45A962D9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296836" y="3501304"/>
            <a:ext cx="3600000" cy="504000"/>
          </a:xfrm>
        </p:spPr>
        <p:txBody>
          <a:bodyPr lIns="108000" tIns="72000" rIns="108000" bIns="72000"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972C4A7C-0C18-4AA1-AC9C-BDAC2FEC3339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8256240" y="1557032"/>
            <a:ext cx="3528000" cy="2520000"/>
          </a:xfrm>
          <a:solidFill>
            <a:schemeClr val="accent3"/>
          </a:solidFill>
        </p:spPr>
        <p:txBody>
          <a:bodyPr tIns="144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4B80ABB8-64AF-42BC-8032-58D1A9B2BF2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256240" y="1557032"/>
            <a:ext cx="648000" cy="2520000"/>
          </a:xfrm>
          <a:solidFill>
            <a:schemeClr val="accent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A441B42D-15C6-4193-9FD0-DBA82597C56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04352" y="1557032"/>
            <a:ext cx="360000" cy="2520000"/>
          </a:xfrm>
          <a:custGeom>
            <a:avLst/>
            <a:gdLst>
              <a:gd name="connsiteX0" fmla="*/ 0 w 719210"/>
              <a:gd name="connsiteY0" fmla="*/ 0 h 6856269"/>
              <a:gd name="connsiteX1" fmla="*/ 719210 w 719210"/>
              <a:gd name="connsiteY1" fmla="*/ 0 h 6856269"/>
              <a:gd name="connsiteX2" fmla="*/ 719210 w 719210"/>
              <a:gd name="connsiteY2" fmla="*/ 6 h 6856269"/>
              <a:gd name="connsiteX3" fmla="*/ 0 w 719210"/>
              <a:gd name="connsiteY3" fmla="*/ 6856269 h 6856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210" h="6856269">
                <a:moveTo>
                  <a:pt x="0" y="0"/>
                </a:moveTo>
                <a:lnTo>
                  <a:pt x="719210" y="0"/>
                </a:lnTo>
                <a:lnTo>
                  <a:pt x="719210" y="6"/>
                </a:lnTo>
                <a:lnTo>
                  <a:pt x="0" y="6856269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7786CB21-3C4B-492B-B4C9-E3159217FC9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04312" y="1557032"/>
            <a:ext cx="360000" cy="252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04DBD1DA-208B-4A2B-9235-91AA274863C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8256761" y="3501304"/>
            <a:ext cx="3528000" cy="504000"/>
          </a:xfrm>
        </p:spPr>
        <p:txBody>
          <a:bodyPr lIns="108000" tIns="72000" rIns="108000" bIns="72000"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082493A-796E-44DD-9F72-6717EB7E3E86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 bwMode="gray"/>
        <p:txBody>
          <a:bodyPr/>
          <a:lstStyle/>
          <a:p>
            <a:r>
              <a:rPr lang="en-GB"/>
              <a:t>BayWa r.e. Company Presentation 20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00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479" userDrawn="1">
          <p15:clr>
            <a:srgbClr val="FBAE40"/>
          </p15:clr>
        </p15:guide>
        <p15:guide id="4" pos="2706" userDrawn="1">
          <p15:clr>
            <a:srgbClr val="FBAE40"/>
          </p15:clr>
        </p15:guide>
        <p15:guide id="5" pos="4974" userDrawn="1">
          <p15:clr>
            <a:srgbClr val="FBAE40"/>
          </p15:clr>
        </p15:guide>
        <p15:guide id="6" pos="5201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+ brigh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6">
            <a:extLst>
              <a:ext uri="{FF2B5EF4-FFF2-40B4-BE49-F238E27FC236}">
                <a16:creationId xmlns:a16="http://schemas.microsoft.com/office/drawing/2014/main" id="{A31A76E7-8A08-4835-9BB3-DD76DA58382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08683" y="1556792"/>
            <a:ext cx="3528000" cy="2520000"/>
          </a:xfrm>
          <a:solidFill>
            <a:schemeClr val="accent3"/>
          </a:solidFill>
        </p:spPr>
        <p:txBody>
          <a:bodyPr tIns="93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1A345EC7-DDC4-4BBD-801A-B4E5E6FA27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08683" y="3068759"/>
            <a:ext cx="3529315" cy="36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4221328"/>
            <a:ext cx="3528000" cy="21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3AFD8-5FF3-478A-90C4-E2B75445371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296208" y="4221328"/>
            <a:ext cx="3600000" cy="21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7EAB4C6-5D44-4E06-8CE0-3E354C13AD53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8256588" y="4221328"/>
            <a:ext cx="3528044" cy="21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3399AB04-C995-406D-8DB4-C48AFE53B8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09303" y="3428759"/>
            <a:ext cx="3528000" cy="648000"/>
          </a:xfrm>
          <a:solidFill>
            <a:schemeClr val="accent1"/>
          </a:solidFill>
        </p:spPr>
        <p:txBody>
          <a:bodyPr lIns="108000" tIns="72000" rIns="108000" bIns="144000"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2" name="Bildplatzhalter 26">
            <a:extLst>
              <a:ext uri="{FF2B5EF4-FFF2-40B4-BE49-F238E27FC236}">
                <a16:creationId xmlns:a16="http://schemas.microsoft.com/office/drawing/2014/main" id="{BDB8699D-2779-445A-AD00-86BCF020EA6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4296216" y="1557032"/>
            <a:ext cx="3600000" cy="2520000"/>
          </a:xfrm>
          <a:solidFill>
            <a:schemeClr val="accent3"/>
          </a:solidFill>
        </p:spPr>
        <p:txBody>
          <a:bodyPr tIns="93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972C4A7C-0C18-4AA1-AC9C-BDAC2FEC3339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8256240" y="1557032"/>
            <a:ext cx="3528000" cy="2520000"/>
          </a:xfrm>
          <a:solidFill>
            <a:schemeClr val="accent3"/>
          </a:solidFill>
        </p:spPr>
        <p:txBody>
          <a:bodyPr tIns="93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082493A-796E-44DD-9F72-6717EB7E3E86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 bwMode="gray"/>
        <p:txBody>
          <a:bodyPr/>
          <a:lstStyle/>
          <a:p>
            <a:r>
              <a:rPr lang="en-GB"/>
              <a:t>BayWa r.e. Company Presentation 2022</a:t>
            </a:r>
            <a:endParaRPr lang="en-US"/>
          </a:p>
        </p:txBody>
      </p:sp>
      <p:sp>
        <p:nvSpPr>
          <p:cNvPr id="33" name="Textplatzhalter 20">
            <a:extLst>
              <a:ext uri="{FF2B5EF4-FFF2-40B4-BE49-F238E27FC236}">
                <a16:creationId xmlns:a16="http://schemas.microsoft.com/office/drawing/2014/main" id="{7DA3FA56-E784-47B0-98DB-50DFA539B2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07368" y="3068759"/>
            <a:ext cx="3529315" cy="36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  <a:gd name="connsiteX0" fmla="*/ 0 w 719840"/>
              <a:gd name="connsiteY0" fmla="*/ 6885383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6885383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600" b="0" noProof="0" dirty="0">
                <a:solidFill>
                  <a:schemeClr val="tx1">
                    <a:alpha val="0"/>
                  </a:schemeClr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1" name="Textplatzhalter 20">
            <a:extLst>
              <a:ext uri="{FF2B5EF4-FFF2-40B4-BE49-F238E27FC236}">
                <a16:creationId xmlns:a16="http://schemas.microsoft.com/office/drawing/2014/main" id="{B9BD6EAE-17A2-4EA5-A3D3-273D5E2832A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297115" y="3068960"/>
            <a:ext cx="3600000" cy="36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42" name="Textplatzhalter 16">
            <a:extLst>
              <a:ext uri="{FF2B5EF4-FFF2-40B4-BE49-F238E27FC236}">
                <a16:creationId xmlns:a16="http://schemas.microsoft.com/office/drawing/2014/main" id="{5D5F27B9-6343-4228-BB14-46EB812A935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297735" y="3428960"/>
            <a:ext cx="3600000" cy="648000"/>
          </a:xfrm>
          <a:solidFill>
            <a:schemeClr val="accent1"/>
          </a:solidFill>
        </p:spPr>
        <p:txBody>
          <a:bodyPr lIns="108000" tIns="72000" rIns="108000" bIns="144000"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3" name="Textplatzhalter 20">
            <a:extLst>
              <a:ext uri="{FF2B5EF4-FFF2-40B4-BE49-F238E27FC236}">
                <a16:creationId xmlns:a16="http://schemas.microsoft.com/office/drawing/2014/main" id="{F641B558-E6FB-4165-A2A1-E7B4F1104A6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295800" y="3068960"/>
            <a:ext cx="3600000" cy="36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  <a:gd name="connsiteX0" fmla="*/ 0 w 719840"/>
              <a:gd name="connsiteY0" fmla="*/ 6885383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6885383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600" b="0" noProof="0" dirty="0">
                <a:solidFill>
                  <a:schemeClr val="tx1">
                    <a:alpha val="0"/>
                  </a:schemeClr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4" name="Textplatzhalter 20">
            <a:extLst>
              <a:ext uri="{FF2B5EF4-FFF2-40B4-BE49-F238E27FC236}">
                <a16:creationId xmlns:a16="http://schemas.microsoft.com/office/drawing/2014/main" id="{A8CA13F9-E5B8-42AA-B066-359DFD7D65D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256020" y="3069161"/>
            <a:ext cx="3528000" cy="36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45" name="Textplatzhalter 16">
            <a:extLst>
              <a:ext uri="{FF2B5EF4-FFF2-40B4-BE49-F238E27FC236}">
                <a16:creationId xmlns:a16="http://schemas.microsoft.com/office/drawing/2014/main" id="{C500F1F4-95C9-40E3-9727-AFF8FC20065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256640" y="3429161"/>
            <a:ext cx="3528000" cy="648000"/>
          </a:xfrm>
          <a:solidFill>
            <a:schemeClr val="accent1"/>
          </a:solidFill>
        </p:spPr>
        <p:txBody>
          <a:bodyPr lIns="108000" tIns="72000" rIns="108000" bIns="144000"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6" name="Textplatzhalter 20">
            <a:extLst>
              <a:ext uri="{FF2B5EF4-FFF2-40B4-BE49-F238E27FC236}">
                <a16:creationId xmlns:a16="http://schemas.microsoft.com/office/drawing/2014/main" id="{709B3A3E-414D-41A6-8ED1-DEF67C204EC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254705" y="3069161"/>
            <a:ext cx="3528000" cy="36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  <a:gd name="connsiteX0" fmla="*/ 0 w 719840"/>
              <a:gd name="connsiteY0" fmla="*/ 6885383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6885383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600" b="0" noProof="0" dirty="0">
                <a:solidFill>
                  <a:schemeClr val="tx1">
                    <a:alpha val="0"/>
                  </a:schemeClr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50763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479">
          <p15:clr>
            <a:srgbClr val="FBAE40"/>
          </p15:clr>
        </p15:guide>
        <p15:guide id="4" pos="2706">
          <p15:clr>
            <a:srgbClr val="FBAE40"/>
          </p15:clr>
        </p15:guide>
        <p15:guide id="5" pos="4974">
          <p15:clr>
            <a:srgbClr val="FBAE40"/>
          </p15:clr>
        </p15:guide>
        <p15:guide id="6" pos="520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four pictures + 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6">
            <a:extLst>
              <a:ext uri="{FF2B5EF4-FFF2-40B4-BE49-F238E27FC236}">
                <a16:creationId xmlns:a16="http://schemas.microsoft.com/office/drawing/2014/main" id="{D3B6C1FB-5FDD-4069-A5FA-9816E770DD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07368" y="1916832"/>
            <a:ext cx="2520000" cy="3816000"/>
          </a:xfrm>
          <a:solidFill>
            <a:schemeClr val="accent3"/>
          </a:solidFill>
          <a:ln>
            <a:noFill/>
          </a:ln>
        </p:spPr>
        <p:txBody>
          <a:bodyPr tIns="151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9179E806-EAC0-4E5D-AE96-3056610CD74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07988" y="4833256"/>
            <a:ext cx="2519362" cy="900000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EF115400-4B9C-4760-943D-0A8BE92FB6C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 flipV="1">
            <a:off x="407368" y="4833256"/>
            <a:ext cx="2519362" cy="900000"/>
          </a:xfrm>
          <a:custGeom>
            <a:avLst/>
            <a:gdLst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209127 w 2519362"/>
              <a:gd name="connsiteY3" fmla="*/ 906016 h 906016"/>
              <a:gd name="connsiteX4" fmla="*/ 0 w 2519362"/>
              <a:gd name="connsiteY4" fmla="*/ 707531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707531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617043 h 906016"/>
              <a:gd name="connsiteX4" fmla="*/ 0 w 2519362"/>
              <a:gd name="connsiteY4" fmla="*/ 0 h 9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9362" h="906016">
                <a:moveTo>
                  <a:pt x="0" y="0"/>
                </a:moveTo>
                <a:lnTo>
                  <a:pt x="2519362" y="0"/>
                </a:lnTo>
                <a:lnTo>
                  <a:pt x="2519362" y="906016"/>
                </a:lnTo>
                <a:lnTo>
                  <a:pt x="0" y="6170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4" name="Textplatzhalter 39">
            <a:extLst>
              <a:ext uri="{FF2B5EF4-FFF2-40B4-BE49-F238E27FC236}">
                <a16:creationId xmlns:a16="http://schemas.microsoft.com/office/drawing/2014/main" id="{95E1B193-5A72-4080-9B66-24D77A44307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07368" y="5121256"/>
            <a:ext cx="2519362" cy="612000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2331C1-F248-4F9A-B913-1ECF64853F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8DEEAD-C858-4DE2-9E16-7D3D41A4D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3E2896C-3CAC-4048-91D9-B5AD2104BC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1556767"/>
            <a:ext cx="2520000" cy="2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AE075BFC-7A14-4D6C-B468-48AEEAAA05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9976" y="1556792"/>
            <a:ext cx="2520000" cy="2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0914EC7-BEC6-4520-B439-024986E8AD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312304" y="1556817"/>
            <a:ext cx="2520000" cy="2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BD094E2-F03F-40BE-8EF7-8E55656086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264352" y="1556842"/>
            <a:ext cx="2520000" cy="2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Bildplatzhalter 26">
            <a:extLst>
              <a:ext uri="{FF2B5EF4-FFF2-40B4-BE49-F238E27FC236}">
                <a16:creationId xmlns:a16="http://schemas.microsoft.com/office/drawing/2014/main" id="{4DB6DD23-E28B-4597-9B27-EDCE4BCF6E6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312024" y="1916832"/>
            <a:ext cx="2520000" cy="3816000"/>
          </a:xfrm>
          <a:solidFill>
            <a:schemeClr val="accent3"/>
          </a:solidFill>
          <a:ln>
            <a:noFill/>
          </a:ln>
        </p:spPr>
        <p:txBody>
          <a:bodyPr tIns="151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3" name="Bildplatzhalter 26">
            <a:extLst>
              <a:ext uri="{FF2B5EF4-FFF2-40B4-BE49-F238E27FC236}">
                <a16:creationId xmlns:a16="http://schemas.microsoft.com/office/drawing/2014/main" id="{A6B66F25-9D52-43E2-AF39-4E1E286800A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9264352" y="1916832"/>
            <a:ext cx="2520000" cy="3816000"/>
          </a:xfrm>
          <a:solidFill>
            <a:schemeClr val="accent3"/>
          </a:solidFill>
          <a:ln>
            <a:noFill/>
          </a:ln>
        </p:spPr>
        <p:txBody>
          <a:bodyPr tIns="151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012DBBC-F9AF-425B-A867-37AEB93EBF4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07988" y="5877328"/>
            <a:ext cx="2519362" cy="504000"/>
          </a:xfrm>
        </p:spPr>
        <p:txBody>
          <a:bodyPr tIns="72000" bIns="7200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6E542819-D87A-4D0A-A80A-E983D9FF32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360614" y="5877328"/>
            <a:ext cx="2519362" cy="504000"/>
          </a:xfrm>
        </p:spPr>
        <p:txBody>
          <a:bodyPr tIns="72000" bIns="7200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F833D9DD-2421-478F-AC5B-9B9F018D5A3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312942" y="5877328"/>
            <a:ext cx="2519362" cy="504000"/>
          </a:xfrm>
        </p:spPr>
        <p:txBody>
          <a:bodyPr tIns="72000" bIns="7200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EDF3B7C0-C764-4A7C-B8ED-7E1E282C7A5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265270" y="5877328"/>
            <a:ext cx="2519362" cy="504000"/>
          </a:xfrm>
        </p:spPr>
        <p:txBody>
          <a:bodyPr tIns="72000" bIns="7200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36E77832-2C3A-466B-AA69-DFE3AB59F23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 flipV="1">
            <a:off x="407368" y="5121256"/>
            <a:ext cx="2519362" cy="612000"/>
          </a:xfrm>
          <a:custGeom>
            <a:avLst/>
            <a:gdLst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209127 w 2519362"/>
              <a:gd name="connsiteY3" fmla="*/ 906016 h 906016"/>
              <a:gd name="connsiteX4" fmla="*/ 0 w 2519362"/>
              <a:gd name="connsiteY4" fmla="*/ 707531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707531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617043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0 h 9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9362" h="906016">
                <a:moveTo>
                  <a:pt x="0" y="0"/>
                </a:moveTo>
                <a:lnTo>
                  <a:pt x="2519362" y="0"/>
                </a:lnTo>
                <a:lnTo>
                  <a:pt x="2519362" y="90601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6" name="Textplatzhalter 39">
            <a:extLst>
              <a:ext uri="{FF2B5EF4-FFF2-40B4-BE49-F238E27FC236}">
                <a16:creationId xmlns:a16="http://schemas.microsoft.com/office/drawing/2014/main" id="{F6D7A7B3-C3D8-432D-95A2-AD721D684F3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312942" y="4833256"/>
            <a:ext cx="2519362" cy="900000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239869B4-45FD-46B7-A39D-E372F7783A1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 flipV="1">
            <a:off x="6312322" y="4833256"/>
            <a:ext cx="2519362" cy="900000"/>
          </a:xfrm>
          <a:custGeom>
            <a:avLst/>
            <a:gdLst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209127 w 2519362"/>
              <a:gd name="connsiteY3" fmla="*/ 906016 h 906016"/>
              <a:gd name="connsiteX4" fmla="*/ 0 w 2519362"/>
              <a:gd name="connsiteY4" fmla="*/ 707531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707531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617043 h 906016"/>
              <a:gd name="connsiteX4" fmla="*/ 0 w 2519362"/>
              <a:gd name="connsiteY4" fmla="*/ 0 h 9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9362" h="906016">
                <a:moveTo>
                  <a:pt x="0" y="0"/>
                </a:moveTo>
                <a:lnTo>
                  <a:pt x="2519362" y="0"/>
                </a:lnTo>
                <a:lnTo>
                  <a:pt x="2519362" y="906016"/>
                </a:lnTo>
                <a:lnTo>
                  <a:pt x="0" y="6170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platzhalter 39">
            <a:extLst>
              <a:ext uri="{FF2B5EF4-FFF2-40B4-BE49-F238E27FC236}">
                <a16:creationId xmlns:a16="http://schemas.microsoft.com/office/drawing/2014/main" id="{4657C7FC-BAAD-473E-B542-0A5A8B8A503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312322" y="5121256"/>
            <a:ext cx="2519362" cy="612000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15A6F36B-DA08-48A6-8466-CDE4F685353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 flipV="1">
            <a:off x="6312322" y="5121256"/>
            <a:ext cx="2519362" cy="612000"/>
          </a:xfrm>
          <a:custGeom>
            <a:avLst/>
            <a:gdLst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209127 w 2519362"/>
              <a:gd name="connsiteY3" fmla="*/ 906016 h 906016"/>
              <a:gd name="connsiteX4" fmla="*/ 0 w 2519362"/>
              <a:gd name="connsiteY4" fmla="*/ 707531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707531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617043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0 h 9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9362" h="906016">
                <a:moveTo>
                  <a:pt x="0" y="0"/>
                </a:moveTo>
                <a:lnTo>
                  <a:pt x="2519362" y="0"/>
                </a:lnTo>
                <a:lnTo>
                  <a:pt x="2519362" y="90601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0" name="Textplatzhalter 39">
            <a:extLst>
              <a:ext uri="{FF2B5EF4-FFF2-40B4-BE49-F238E27FC236}">
                <a16:creationId xmlns:a16="http://schemas.microsoft.com/office/drawing/2014/main" id="{CB2B1F47-0EF2-443D-A102-49F7BC129CF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9265270" y="4833256"/>
            <a:ext cx="2519362" cy="900000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1" name="Textplatzhalter 50">
            <a:extLst>
              <a:ext uri="{FF2B5EF4-FFF2-40B4-BE49-F238E27FC236}">
                <a16:creationId xmlns:a16="http://schemas.microsoft.com/office/drawing/2014/main" id="{B6DB3BA6-B6B6-4184-99BF-0814F24030C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 flipV="1">
            <a:off x="9264650" y="4833256"/>
            <a:ext cx="2519362" cy="900000"/>
          </a:xfrm>
          <a:custGeom>
            <a:avLst/>
            <a:gdLst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209127 w 2519362"/>
              <a:gd name="connsiteY3" fmla="*/ 906016 h 906016"/>
              <a:gd name="connsiteX4" fmla="*/ 0 w 2519362"/>
              <a:gd name="connsiteY4" fmla="*/ 707531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707531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617043 h 906016"/>
              <a:gd name="connsiteX4" fmla="*/ 0 w 2519362"/>
              <a:gd name="connsiteY4" fmla="*/ 0 h 9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9362" h="906016">
                <a:moveTo>
                  <a:pt x="0" y="0"/>
                </a:moveTo>
                <a:lnTo>
                  <a:pt x="2519362" y="0"/>
                </a:lnTo>
                <a:lnTo>
                  <a:pt x="2519362" y="906016"/>
                </a:lnTo>
                <a:lnTo>
                  <a:pt x="0" y="6170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2" name="Textplatzhalter 39">
            <a:extLst>
              <a:ext uri="{FF2B5EF4-FFF2-40B4-BE49-F238E27FC236}">
                <a16:creationId xmlns:a16="http://schemas.microsoft.com/office/drawing/2014/main" id="{89BED1E2-0BC0-4F69-87EA-BA602682BF2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9264650" y="5121256"/>
            <a:ext cx="2519362" cy="612000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4FC9D5AD-9F12-4FA8-B648-D730CCD5FCD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gray">
          <a:xfrm flipV="1">
            <a:off x="9264650" y="5121256"/>
            <a:ext cx="2519362" cy="612000"/>
          </a:xfrm>
          <a:custGeom>
            <a:avLst/>
            <a:gdLst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209127 w 2519362"/>
              <a:gd name="connsiteY3" fmla="*/ 906016 h 906016"/>
              <a:gd name="connsiteX4" fmla="*/ 0 w 2519362"/>
              <a:gd name="connsiteY4" fmla="*/ 707531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707531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617043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0 h 9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9362" h="906016">
                <a:moveTo>
                  <a:pt x="0" y="0"/>
                </a:moveTo>
                <a:lnTo>
                  <a:pt x="2519362" y="0"/>
                </a:lnTo>
                <a:lnTo>
                  <a:pt x="2519362" y="90601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93CA1F-A180-4A9B-B9D3-F05F94250644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 bwMode="gray"/>
        <p:txBody>
          <a:bodyPr/>
          <a:lstStyle/>
          <a:p>
            <a:r>
              <a:rPr lang="en-GB"/>
              <a:t>BayWa r.e. Company Presentation 2022</a:t>
            </a:r>
            <a:endParaRPr lang="en-US"/>
          </a:p>
        </p:txBody>
      </p:sp>
      <p:sp>
        <p:nvSpPr>
          <p:cNvPr id="35" name="Bildplatzhalter 26">
            <a:extLst>
              <a:ext uri="{FF2B5EF4-FFF2-40B4-BE49-F238E27FC236}">
                <a16:creationId xmlns:a16="http://schemas.microsoft.com/office/drawing/2014/main" id="{8CDA74E2-F86B-4E98-AF69-E4E214908F7A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 bwMode="gray">
          <a:xfrm>
            <a:off x="3359976" y="1916832"/>
            <a:ext cx="2520000" cy="3816000"/>
          </a:xfrm>
          <a:solidFill>
            <a:schemeClr val="accent3"/>
          </a:solidFill>
          <a:ln>
            <a:noFill/>
          </a:ln>
        </p:spPr>
        <p:txBody>
          <a:bodyPr tIns="151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36" name="Textplatzhalter 39">
            <a:extLst>
              <a:ext uri="{FF2B5EF4-FFF2-40B4-BE49-F238E27FC236}">
                <a16:creationId xmlns:a16="http://schemas.microsoft.com/office/drawing/2014/main" id="{8870A6F8-BB73-4495-84CD-D9DF431B884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3360596" y="4833256"/>
            <a:ext cx="2519362" cy="900000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7" name="Textplatzhalter 42">
            <a:extLst>
              <a:ext uri="{FF2B5EF4-FFF2-40B4-BE49-F238E27FC236}">
                <a16:creationId xmlns:a16="http://schemas.microsoft.com/office/drawing/2014/main" id="{47CE5F76-F853-46EE-B075-61422E3FA85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 bwMode="gray">
          <a:xfrm flipV="1">
            <a:off x="3359976" y="4833256"/>
            <a:ext cx="2519362" cy="900000"/>
          </a:xfrm>
          <a:custGeom>
            <a:avLst/>
            <a:gdLst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209127 w 2519362"/>
              <a:gd name="connsiteY3" fmla="*/ 906016 h 906016"/>
              <a:gd name="connsiteX4" fmla="*/ 0 w 2519362"/>
              <a:gd name="connsiteY4" fmla="*/ 707531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707531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617043 h 906016"/>
              <a:gd name="connsiteX4" fmla="*/ 0 w 2519362"/>
              <a:gd name="connsiteY4" fmla="*/ 0 h 9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9362" h="906016">
                <a:moveTo>
                  <a:pt x="0" y="0"/>
                </a:moveTo>
                <a:lnTo>
                  <a:pt x="2519362" y="0"/>
                </a:lnTo>
                <a:lnTo>
                  <a:pt x="2519362" y="906016"/>
                </a:lnTo>
                <a:lnTo>
                  <a:pt x="0" y="6170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8" name="Textplatzhalter 39">
            <a:extLst>
              <a:ext uri="{FF2B5EF4-FFF2-40B4-BE49-F238E27FC236}">
                <a16:creationId xmlns:a16="http://schemas.microsoft.com/office/drawing/2014/main" id="{6F686B2A-5EFC-4BC2-B531-3E8CBCB6695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3359976" y="5121256"/>
            <a:ext cx="2519362" cy="612000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9" name="Textplatzhalter 44">
            <a:extLst>
              <a:ext uri="{FF2B5EF4-FFF2-40B4-BE49-F238E27FC236}">
                <a16:creationId xmlns:a16="http://schemas.microsoft.com/office/drawing/2014/main" id="{37510859-A602-4E41-ADB6-82AFD9BC000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 bwMode="gray">
          <a:xfrm flipV="1">
            <a:off x="3359976" y="5121256"/>
            <a:ext cx="2519362" cy="612000"/>
          </a:xfrm>
          <a:custGeom>
            <a:avLst/>
            <a:gdLst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209127 w 2519362"/>
              <a:gd name="connsiteY3" fmla="*/ 906016 h 906016"/>
              <a:gd name="connsiteX4" fmla="*/ 0 w 2519362"/>
              <a:gd name="connsiteY4" fmla="*/ 707531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707531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617043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0 h 9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9362" h="906016">
                <a:moveTo>
                  <a:pt x="0" y="0"/>
                </a:moveTo>
                <a:lnTo>
                  <a:pt x="2519362" y="0"/>
                </a:lnTo>
                <a:lnTo>
                  <a:pt x="2519362" y="90601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67635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44" userDrawn="1">
          <p15:clr>
            <a:srgbClr val="FBAE40"/>
          </p15:clr>
        </p15:guide>
        <p15:guide id="2" pos="3704" userDrawn="1">
          <p15:clr>
            <a:srgbClr val="FBAE40"/>
          </p15:clr>
        </p15:guide>
        <p15:guide id="3" pos="3976" userDrawn="1">
          <p15:clr>
            <a:srgbClr val="FBAE40"/>
          </p15:clr>
        </p15:guide>
        <p15:guide id="4" pos="2116" userDrawn="1">
          <p15:clr>
            <a:srgbClr val="FBAE40"/>
          </p15:clr>
        </p15:guide>
        <p15:guide id="5" pos="5836" userDrawn="1">
          <p15:clr>
            <a:srgbClr val="FBAE40"/>
          </p15:clr>
        </p15:guide>
        <p15:guide id="6" pos="556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+ picture gall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2331C1-F248-4F9A-B913-1ECF64853F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264352" y="1484896"/>
            <a:ext cx="2520000" cy="115200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8DEEAD-C858-4DE2-9E16-7D3D41A4D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Bildplatzhalter 26">
            <a:extLst>
              <a:ext uri="{FF2B5EF4-FFF2-40B4-BE49-F238E27FC236}">
                <a16:creationId xmlns:a16="http://schemas.microsoft.com/office/drawing/2014/main" id="{9DF07A8D-3E2F-407D-9A00-4B35D918F2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528048" y="404664"/>
            <a:ext cx="2304000" cy="1656000"/>
          </a:xfrm>
          <a:solidFill>
            <a:schemeClr val="accent3"/>
          </a:solidFill>
        </p:spPr>
        <p:txBody>
          <a:bodyPr tIns="108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404A11-EDB7-461D-8872-FF98DDAEB8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264650" y="2781328"/>
            <a:ext cx="2519363" cy="360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ildplatzhalter 26">
            <a:extLst>
              <a:ext uri="{FF2B5EF4-FFF2-40B4-BE49-F238E27FC236}">
                <a16:creationId xmlns:a16="http://schemas.microsoft.com/office/drawing/2014/main" id="{2D50874D-B292-4192-A678-D9FACFAC878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7" y="836696"/>
            <a:ext cx="5940000" cy="3600000"/>
          </a:xfrm>
          <a:solidFill>
            <a:schemeClr val="accent3"/>
          </a:solidFill>
        </p:spPr>
        <p:txBody>
          <a:bodyPr tIns="165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0" name="Bildplatzhalter 26">
            <a:extLst>
              <a:ext uri="{FF2B5EF4-FFF2-40B4-BE49-F238E27FC236}">
                <a16:creationId xmlns:a16="http://schemas.microsoft.com/office/drawing/2014/main" id="{4C64E45E-A669-486C-8B63-604789ADE20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528304" y="2204864"/>
            <a:ext cx="2304000" cy="1656000"/>
          </a:xfrm>
          <a:solidFill>
            <a:schemeClr val="accent3"/>
          </a:solidFill>
        </p:spPr>
        <p:txBody>
          <a:bodyPr tIns="108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1" name="Bildplatzhalter 26">
            <a:extLst>
              <a:ext uri="{FF2B5EF4-FFF2-40B4-BE49-F238E27FC236}">
                <a16:creationId xmlns:a16="http://schemas.microsoft.com/office/drawing/2014/main" id="{82086F84-780A-412E-BC50-84CDCD8821A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24304" y="4581328"/>
            <a:ext cx="2808000" cy="1800000"/>
          </a:xfrm>
          <a:solidFill>
            <a:schemeClr val="accent3"/>
          </a:solidFill>
        </p:spPr>
        <p:txBody>
          <a:bodyPr tIns="1188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3" name="Bildplatzhalter 26">
            <a:extLst>
              <a:ext uri="{FF2B5EF4-FFF2-40B4-BE49-F238E27FC236}">
                <a16:creationId xmlns:a16="http://schemas.microsoft.com/office/drawing/2014/main" id="{870520FF-ED48-4387-9AF0-E894FAD89EC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071976" y="4581328"/>
            <a:ext cx="2808000" cy="1800000"/>
          </a:xfrm>
          <a:solidFill>
            <a:schemeClr val="accent3"/>
          </a:solidFill>
        </p:spPr>
        <p:txBody>
          <a:bodyPr tIns="1188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5" name="Bildplatzhalter 26">
            <a:extLst>
              <a:ext uri="{FF2B5EF4-FFF2-40B4-BE49-F238E27FC236}">
                <a16:creationId xmlns:a16="http://schemas.microsoft.com/office/drawing/2014/main" id="{C0B947C0-DD72-4B6F-9C87-F9CAAD13DD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23648" y="4581296"/>
            <a:ext cx="2304000" cy="1584000"/>
          </a:xfrm>
          <a:solidFill>
            <a:schemeClr val="accent3"/>
          </a:solidFill>
        </p:spPr>
        <p:txBody>
          <a:bodyPr tIns="1044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E295534A-0B73-46FB-A0C1-FDEF50247A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8051" y="837135"/>
            <a:ext cx="647389" cy="3600000"/>
          </a:xfrm>
          <a:solidFill>
            <a:schemeClr val="accent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17" name="Textplatzhalter 19">
            <a:extLst>
              <a:ext uri="{FF2B5EF4-FFF2-40B4-BE49-F238E27FC236}">
                <a16:creationId xmlns:a16="http://schemas.microsoft.com/office/drawing/2014/main" id="{C6EFE638-C66A-420E-9D55-5F997CEFC22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055480" y="837135"/>
            <a:ext cx="360000" cy="3600000"/>
          </a:xfrm>
          <a:custGeom>
            <a:avLst/>
            <a:gdLst>
              <a:gd name="connsiteX0" fmla="*/ 0 w 719210"/>
              <a:gd name="connsiteY0" fmla="*/ 0 h 6856269"/>
              <a:gd name="connsiteX1" fmla="*/ 719210 w 719210"/>
              <a:gd name="connsiteY1" fmla="*/ 0 h 6856269"/>
              <a:gd name="connsiteX2" fmla="*/ 719210 w 719210"/>
              <a:gd name="connsiteY2" fmla="*/ 6 h 6856269"/>
              <a:gd name="connsiteX3" fmla="*/ 0 w 719210"/>
              <a:gd name="connsiteY3" fmla="*/ 6856269 h 6856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210" h="6856269">
                <a:moveTo>
                  <a:pt x="0" y="0"/>
                </a:moveTo>
                <a:lnTo>
                  <a:pt x="719210" y="0"/>
                </a:lnTo>
                <a:lnTo>
                  <a:pt x="719210" y="6"/>
                </a:lnTo>
                <a:lnTo>
                  <a:pt x="0" y="6856269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8" name="Textplatzhalter 20">
            <a:extLst>
              <a:ext uri="{FF2B5EF4-FFF2-40B4-BE49-F238E27FC236}">
                <a16:creationId xmlns:a16="http://schemas.microsoft.com/office/drawing/2014/main" id="{10D99676-6A1B-4BEB-9897-32CD8F6BDA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055480" y="837136"/>
            <a:ext cx="360000" cy="360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AD7ACD-CB5D-4711-AD37-24CCE085918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 noProof="0"/>
              <a:t>BayWa r.e. Company Presentation 2022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49372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36" userDrawn="1">
          <p15:clr>
            <a:srgbClr val="FBAE40"/>
          </p15:clr>
        </p15:guide>
        <p15:guide id="2" pos="556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2331C1-F248-4F9A-B913-1ECF64853F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8DEEAD-C858-4DE2-9E16-7D3D41A4D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0A39-527A-45CF-A911-B921024B92E6}" type="slidenum">
              <a:rPr lang="en-US" smtClean="0"/>
              <a:t>‹#›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D487C19-ED5D-44F2-AECB-32EE2C6012A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BayWa r.e. Company Presentation 20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2461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CFEEF-548D-47E7-9F1D-3D21C520F8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0A39-527A-45CF-A911-B921024B92E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2499311-1F4C-4C7A-9F37-4C3C828E866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BayWa r.e. Company Presentation 20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58953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021B37D1-6F10-4868-9644-8E98F676CED5}"/>
              </a:ext>
            </a:extLst>
          </p:cNvPr>
          <p:cNvSpPr/>
          <p:nvPr userDrawn="1"/>
        </p:nvSpPr>
        <p:spPr bwMode="gray">
          <a:xfrm>
            <a:off x="0" y="-9525"/>
            <a:ext cx="8256588" cy="686752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2C540673-DC23-4CE7-AAF9-4DD753659FB8}"/>
              </a:ext>
            </a:extLst>
          </p:cNvPr>
          <p:cNvSpPr/>
          <p:nvPr userDrawn="1"/>
        </p:nvSpPr>
        <p:spPr bwMode="gray">
          <a:xfrm>
            <a:off x="-1" y="-9525"/>
            <a:ext cx="8258175" cy="6867525"/>
          </a:xfrm>
          <a:custGeom>
            <a:avLst/>
            <a:gdLst>
              <a:gd name="connsiteX0" fmla="*/ 0 w 8258175"/>
              <a:gd name="connsiteY0" fmla="*/ 0 h 6858000"/>
              <a:gd name="connsiteX1" fmla="*/ 8258175 w 8258175"/>
              <a:gd name="connsiteY1" fmla="*/ 0 h 6858000"/>
              <a:gd name="connsiteX2" fmla="*/ 8258175 w 8258175"/>
              <a:gd name="connsiteY2" fmla="*/ 6858000 h 6858000"/>
              <a:gd name="connsiteX3" fmla="*/ 0 w 8258175"/>
              <a:gd name="connsiteY3" fmla="*/ 6858000 h 6858000"/>
              <a:gd name="connsiteX4" fmla="*/ 0 w 8258175"/>
              <a:gd name="connsiteY4" fmla="*/ 0 h 6858000"/>
              <a:gd name="connsiteX0" fmla="*/ 0 w 8258175"/>
              <a:gd name="connsiteY0" fmla="*/ 0 h 6869953"/>
              <a:gd name="connsiteX1" fmla="*/ 8258175 w 8258175"/>
              <a:gd name="connsiteY1" fmla="*/ 0 h 6869953"/>
              <a:gd name="connsiteX2" fmla="*/ 7540998 w 8258175"/>
              <a:gd name="connsiteY2" fmla="*/ 6869953 h 6869953"/>
              <a:gd name="connsiteX3" fmla="*/ 0 w 8258175"/>
              <a:gd name="connsiteY3" fmla="*/ 6858000 h 6869953"/>
              <a:gd name="connsiteX4" fmla="*/ 0 w 8258175"/>
              <a:gd name="connsiteY4" fmla="*/ 0 h 6869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8175" h="6869953">
                <a:moveTo>
                  <a:pt x="0" y="0"/>
                </a:moveTo>
                <a:lnTo>
                  <a:pt x="8258175" y="0"/>
                </a:lnTo>
                <a:lnTo>
                  <a:pt x="7540998" y="6869953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8CC74189-3E55-4A45-8D29-F7BD3276D480}"/>
              </a:ext>
            </a:extLst>
          </p:cNvPr>
          <p:cNvSpPr/>
          <p:nvPr userDrawn="1"/>
        </p:nvSpPr>
        <p:spPr bwMode="gray">
          <a:xfrm>
            <a:off x="-1" y="-9526"/>
            <a:ext cx="7535864" cy="6867525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8207593-70E6-49B8-97A9-41E0C0F019AB}"/>
              </a:ext>
            </a:extLst>
          </p:cNvPr>
          <p:cNvSpPr/>
          <p:nvPr userDrawn="1"/>
        </p:nvSpPr>
        <p:spPr bwMode="gray">
          <a:xfrm>
            <a:off x="0" y="-9525"/>
            <a:ext cx="7535863" cy="6867524"/>
          </a:xfrm>
          <a:custGeom>
            <a:avLst/>
            <a:gdLst>
              <a:gd name="connsiteX0" fmla="*/ 0 w 7535863"/>
              <a:gd name="connsiteY0" fmla="*/ 0 h 6858000"/>
              <a:gd name="connsiteX1" fmla="*/ 7535863 w 7535863"/>
              <a:gd name="connsiteY1" fmla="*/ 0 h 6858000"/>
              <a:gd name="connsiteX2" fmla="*/ 7535863 w 7535863"/>
              <a:gd name="connsiteY2" fmla="*/ 6858000 h 6858000"/>
              <a:gd name="connsiteX3" fmla="*/ 0 w 7535863"/>
              <a:gd name="connsiteY3" fmla="*/ 6858000 h 6858000"/>
              <a:gd name="connsiteX4" fmla="*/ 0 w 7535863"/>
              <a:gd name="connsiteY4" fmla="*/ 0 h 6858000"/>
              <a:gd name="connsiteX0" fmla="*/ 0 w 7535863"/>
              <a:gd name="connsiteY0" fmla="*/ 0 h 6858000"/>
              <a:gd name="connsiteX1" fmla="*/ 7535863 w 7535863"/>
              <a:gd name="connsiteY1" fmla="*/ 0 h 6858000"/>
              <a:gd name="connsiteX2" fmla="*/ 6119439 w 7535863"/>
              <a:gd name="connsiteY2" fmla="*/ 6858000 h 6858000"/>
              <a:gd name="connsiteX3" fmla="*/ 0 w 7535863"/>
              <a:gd name="connsiteY3" fmla="*/ 6858000 h 6858000"/>
              <a:gd name="connsiteX4" fmla="*/ 0 w 753586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35863" h="6858000">
                <a:moveTo>
                  <a:pt x="0" y="0"/>
                </a:moveTo>
                <a:lnTo>
                  <a:pt x="7535863" y="0"/>
                </a:lnTo>
                <a:lnTo>
                  <a:pt x="611943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1AC40C6-4EF3-4113-AB1E-AB7F29FF4F1D}"/>
              </a:ext>
            </a:extLst>
          </p:cNvPr>
          <p:cNvSpPr/>
          <p:nvPr userDrawn="1"/>
        </p:nvSpPr>
        <p:spPr bwMode="gray">
          <a:xfrm>
            <a:off x="0" y="1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EA7E1995-EED0-4680-BB59-73BA13D335C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 bwMode="black">
          <a:xfrm>
            <a:off x="8688632" y="4869011"/>
            <a:ext cx="3096000" cy="144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itel 2">
            <a:extLst>
              <a:ext uri="{FF2B5EF4-FFF2-40B4-BE49-F238E27FC236}">
                <a16:creationId xmlns:a16="http://schemas.microsoft.com/office/drawing/2014/main" id="{46B7FE29-1F6B-4A14-B0CE-B68BFE147F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8688632" y="3909159"/>
            <a:ext cx="3096000" cy="648000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4CE18123-3781-48F5-9C40-472F000088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07368" y="404664"/>
            <a:ext cx="215900" cy="216000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2087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3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0000">
                                          <p:cBhvr additive="base">
                                            <p:cTn id="7" dur="20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0000">
                                          <p:cBhvr additive="base">
                                            <p:cTn id="8" dur="20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3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0000">
                                          <p:cBhvr additive="base">
                                            <p:cTn id="11" dur="2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0000">
                                          <p:cBhvr additive="base">
                                            <p:cTn id="12" dur="2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3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0000">
                                          <p:cBhvr additive="base">
                                            <p:cTn id="15" dur="2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0000">
                                          <p:cBhvr additive="base">
                                            <p:cTn id="16" dur="2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 p14:presetBounceEnd="3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0000">
                                          <p:cBhvr additive="base">
                                            <p:cTn id="19" dur="2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0000">
                                          <p:cBhvr additive="base">
                                            <p:cTn id="20" dur="2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 p14:presetBounceEnd="3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0000">
                                          <p:cBhvr additive="base">
                                            <p:cTn id="23" dur="2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0000">
                                          <p:cBhvr additive="base">
                                            <p:cTn id="24" dur="2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2" grpId="0" animBg="1"/>
          <p:bldP spid="32" grpId="1" animBg="1"/>
          <p:bldP spid="30" grpId="0" animBg="1"/>
          <p:bldP spid="30" grpId="1" animBg="1"/>
          <p:bldP spid="33" grpId="0" animBg="1"/>
          <p:bldP spid="33" grpId="1" animBg="1"/>
          <p:bldP spid="34" grpId="0" animBg="1"/>
          <p:bldP spid="34" grpId="1" animBg="1"/>
          <p:bldP spid="15" grpId="0" animBg="1"/>
          <p:bldP spid="15" grpId="1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2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2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2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2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2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2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2" grpId="0" animBg="1"/>
          <p:bldP spid="32" grpId="1" animBg="1"/>
          <p:bldP spid="30" grpId="0" animBg="1"/>
          <p:bldP spid="30" grpId="1" animBg="1"/>
          <p:bldP spid="33" grpId="0" animBg="1"/>
          <p:bldP spid="33" grpId="1" animBg="1"/>
          <p:bldP spid="34" grpId="0" animBg="1"/>
          <p:bldP spid="34" grpId="1" animBg="1"/>
          <p:bldP spid="15" grpId="0" animBg="1"/>
          <p:bldP spid="15" grpId="1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pos="5201" userDrawn="1">
          <p15:clr>
            <a:srgbClr val="FBAE40"/>
          </p15:clr>
        </p15:guide>
        <p15:guide id="2" pos="4747" userDrawn="1">
          <p15:clr>
            <a:srgbClr val="FBAE40"/>
          </p15:clr>
        </p15:guide>
        <p15:guide id="3" pos="384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r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8636068-1D4C-4D74-93D9-04BBFE097B20}"/>
              </a:ext>
            </a:extLst>
          </p:cNvPr>
          <p:cNvSpPr/>
          <p:nvPr userDrawn="1"/>
        </p:nvSpPr>
        <p:spPr>
          <a:xfrm>
            <a:off x="407988" y="3212976"/>
            <a:ext cx="5688321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l"/>
            <a:r>
              <a:rPr lang="en-US" sz="1200"/>
              <a:t>© Copyright </a:t>
            </a:r>
            <a:r>
              <a:rPr lang="en-US" sz="1200" err="1"/>
              <a:t>BayWa</a:t>
            </a:r>
            <a:r>
              <a:rPr lang="en-US" sz="1200"/>
              <a:t> r.e. renewable energy GmbH, 2020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81A8415-BA5D-4DCD-83D5-A1DDC11E9F7E}"/>
              </a:ext>
            </a:extLst>
          </p:cNvPr>
          <p:cNvSpPr/>
          <p:nvPr userDrawn="1"/>
        </p:nvSpPr>
        <p:spPr>
          <a:xfrm>
            <a:off x="407989" y="3645336"/>
            <a:ext cx="5688012" cy="28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t"/>
          <a:lstStyle/>
          <a:p>
            <a:pPr algn="l"/>
            <a:r>
              <a:rPr lang="en-US" sz="1200"/>
              <a:t>The content of this presentation (including text, graphics, photos, tables, logos, etc.) and the presentation itself are protected by copyright. </a:t>
            </a:r>
            <a:br>
              <a:rPr lang="en-US" sz="1200"/>
            </a:br>
            <a:r>
              <a:rPr lang="en-US" sz="1200"/>
              <a:t>They were created by </a:t>
            </a:r>
            <a:r>
              <a:rPr lang="en-US" sz="1200" err="1"/>
              <a:t>BayWa</a:t>
            </a:r>
            <a:r>
              <a:rPr lang="en-US" sz="1200"/>
              <a:t> </a:t>
            </a:r>
            <a:r>
              <a:rPr lang="en-US" sz="1200" err="1"/>
              <a:t>r.e</a:t>
            </a:r>
            <a:r>
              <a:rPr lang="en-US" sz="1200"/>
              <a:t>. renewable energy GmbH independently. </a:t>
            </a:r>
          </a:p>
          <a:p>
            <a:pPr algn="l"/>
            <a:endParaRPr lang="en-US" sz="1200"/>
          </a:p>
          <a:p>
            <a:pPr algn="l"/>
            <a:r>
              <a:rPr lang="en-US" sz="1200"/>
              <a:t>Any dissemination of the presentation and/or content or parts thereof is only permitted with written permission by </a:t>
            </a:r>
            <a:r>
              <a:rPr lang="en-US" sz="1200" err="1"/>
              <a:t>BayWa</a:t>
            </a:r>
            <a:r>
              <a:rPr lang="en-US" sz="1200"/>
              <a:t> </a:t>
            </a:r>
            <a:r>
              <a:rPr lang="en-US" sz="1200" err="1"/>
              <a:t>r.e</a:t>
            </a:r>
            <a:r>
              <a:rPr lang="en-US" sz="1200"/>
              <a:t>. Without written permission of </a:t>
            </a:r>
            <a:r>
              <a:rPr lang="en-US" sz="1200" err="1"/>
              <a:t>BayWa</a:t>
            </a:r>
            <a:r>
              <a:rPr lang="en-US" sz="1200"/>
              <a:t> </a:t>
            </a:r>
            <a:r>
              <a:rPr lang="en-US" sz="1200" err="1"/>
              <a:t>r.e</a:t>
            </a:r>
            <a:r>
              <a:rPr lang="en-US" sz="1200"/>
              <a:t>., this document and/or parts of it must not be passed on, modified, published, translated or reproduced, either by photocopies, or by others – </a:t>
            </a:r>
            <a:br>
              <a:rPr lang="en-US" sz="1200"/>
            </a:br>
            <a:r>
              <a:rPr lang="en-US" sz="1200"/>
              <a:t>in particular by electronic procedures. This reservation also extends to inclusion</a:t>
            </a:r>
            <a:br>
              <a:rPr lang="en-US" sz="1200"/>
            </a:br>
            <a:r>
              <a:rPr lang="en-US" sz="1200"/>
              <a:t>in or evaluation by databases. Infringements will be prosecuted.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C4466E2-24B4-4271-B9DA-FFBB2E80FC37}"/>
              </a:ext>
            </a:extLst>
          </p:cNvPr>
          <p:cNvSpPr/>
          <p:nvPr userDrawn="1"/>
        </p:nvSpPr>
        <p:spPr>
          <a:xfrm>
            <a:off x="407368" y="2708920"/>
            <a:ext cx="11376644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l"/>
            <a:r>
              <a:rPr lang="en-US" sz="3600" b="1">
                <a:solidFill>
                  <a:schemeClr val="accent1"/>
                </a:solidFill>
              </a:rPr>
              <a:t>Copyright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02722E55-A0D1-4EF4-84CF-404EBB28F6A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407368" y="404664"/>
            <a:ext cx="215900" cy="216000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0262612"/>
      </p:ext>
    </p:extLst>
  </p:cSld>
  <p:clrMapOvr>
    <a:masterClrMapping/>
  </p:clrMapOvr>
  <p:transition spd="slow">
    <p:push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agenda 3 poi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6">
            <a:extLst>
              <a:ext uri="{FF2B5EF4-FFF2-40B4-BE49-F238E27FC236}">
                <a16:creationId xmlns:a16="http://schemas.microsoft.com/office/drawing/2014/main" id="{895E292B-1E72-4D07-8111-9243F229074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5256000" y="0"/>
            <a:ext cx="6936001" cy="2780616"/>
          </a:xfrm>
          <a:solidFill>
            <a:schemeClr val="accent3"/>
          </a:solidFill>
        </p:spPr>
        <p:txBody>
          <a:bodyPr tIns="1584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Optional: To add a picture click the icon</a:t>
            </a:r>
          </a:p>
        </p:txBody>
      </p:sp>
      <p:sp>
        <p:nvSpPr>
          <p:cNvPr id="17" name="Textplatzhalter 28">
            <a:extLst>
              <a:ext uri="{FF2B5EF4-FFF2-40B4-BE49-F238E27FC236}">
                <a16:creationId xmlns:a16="http://schemas.microsoft.com/office/drawing/2014/main" id="{62068FD8-CDDA-4EED-9350-43FC4A20CEF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231904" y="-1"/>
            <a:ext cx="2159370" cy="2780617"/>
          </a:xfrm>
          <a:custGeom>
            <a:avLst/>
            <a:gdLst>
              <a:gd name="connsiteX0" fmla="*/ 0 w 1224000"/>
              <a:gd name="connsiteY0" fmla="*/ 0 h 6872288"/>
              <a:gd name="connsiteX1" fmla="*/ 1224000 w 1224000"/>
              <a:gd name="connsiteY1" fmla="*/ 0 h 6872288"/>
              <a:gd name="connsiteX2" fmla="*/ 1224000 w 1224000"/>
              <a:gd name="connsiteY2" fmla="*/ 6 h 6872288"/>
              <a:gd name="connsiteX3" fmla="*/ 1 w 1224000"/>
              <a:gd name="connsiteY3" fmla="*/ 6872288 h 6872288"/>
              <a:gd name="connsiteX4" fmla="*/ 0 w 1224000"/>
              <a:gd name="connsiteY4" fmla="*/ 6872288 h 6872288"/>
              <a:gd name="connsiteX0" fmla="*/ 2444517 w 3668517"/>
              <a:gd name="connsiteY0" fmla="*/ 0 h 7053344"/>
              <a:gd name="connsiteX1" fmla="*/ 3668517 w 3668517"/>
              <a:gd name="connsiteY1" fmla="*/ 0 h 7053344"/>
              <a:gd name="connsiteX2" fmla="*/ 3668517 w 3668517"/>
              <a:gd name="connsiteY2" fmla="*/ 6 h 7053344"/>
              <a:gd name="connsiteX3" fmla="*/ 2444518 w 3668517"/>
              <a:gd name="connsiteY3" fmla="*/ 6872288 h 7053344"/>
              <a:gd name="connsiteX4" fmla="*/ 2444517 w 3668517"/>
              <a:gd name="connsiteY4" fmla="*/ 6872288 h 7053344"/>
              <a:gd name="connsiteX5" fmla="*/ 0 w 3668517"/>
              <a:gd name="connsiteY5" fmla="*/ 6896100 h 7053344"/>
              <a:gd name="connsiteX6" fmla="*/ 2444517 w 3668517"/>
              <a:gd name="connsiteY6" fmla="*/ 0 h 7053344"/>
              <a:gd name="connsiteX0" fmla="*/ 0 w 3671134"/>
              <a:gd name="connsiteY0" fmla="*/ 0 h 7053344"/>
              <a:gd name="connsiteX1" fmla="*/ 3671134 w 3671134"/>
              <a:gd name="connsiteY1" fmla="*/ 0 h 7053344"/>
              <a:gd name="connsiteX2" fmla="*/ 3671134 w 3671134"/>
              <a:gd name="connsiteY2" fmla="*/ 6 h 7053344"/>
              <a:gd name="connsiteX3" fmla="*/ 2447135 w 3671134"/>
              <a:gd name="connsiteY3" fmla="*/ 6872288 h 7053344"/>
              <a:gd name="connsiteX4" fmla="*/ 2447134 w 3671134"/>
              <a:gd name="connsiteY4" fmla="*/ 6872288 h 7053344"/>
              <a:gd name="connsiteX5" fmla="*/ 2617 w 3671134"/>
              <a:gd name="connsiteY5" fmla="*/ 6896100 h 7053344"/>
              <a:gd name="connsiteX6" fmla="*/ 0 w 3671134"/>
              <a:gd name="connsiteY6" fmla="*/ 0 h 7053344"/>
              <a:gd name="connsiteX0" fmla="*/ 0 w 3671134"/>
              <a:gd name="connsiteY0" fmla="*/ 0 h 7136652"/>
              <a:gd name="connsiteX1" fmla="*/ 3671134 w 3671134"/>
              <a:gd name="connsiteY1" fmla="*/ 0 h 7136652"/>
              <a:gd name="connsiteX2" fmla="*/ 3671134 w 3671134"/>
              <a:gd name="connsiteY2" fmla="*/ 6 h 7136652"/>
              <a:gd name="connsiteX3" fmla="*/ 2447135 w 3671134"/>
              <a:gd name="connsiteY3" fmla="*/ 6872288 h 7136652"/>
              <a:gd name="connsiteX4" fmla="*/ 2447134 w 3671134"/>
              <a:gd name="connsiteY4" fmla="*/ 6872288 h 7136652"/>
              <a:gd name="connsiteX5" fmla="*/ 2617 w 3671134"/>
              <a:gd name="connsiteY5" fmla="*/ 6896100 h 7136652"/>
              <a:gd name="connsiteX6" fmla="*/ 0 w 3671134"/>
              <a:gd name="connsiteY6" fmla="*/ 0 h 7136652"/>
              <a:gd name="connsiteX0" fmla="*/ 2898 w 3674032"/>
              <a:gd name="connsiteY0" fmla="*/ 0 h 7106038"/>
              <a:gd name="connsiteX1" fmla="*/ 3674032 w 3674032"/>
              <a:gd name="connsiteY1" fmla="*/ 0 h 7106038"/>
              <a:gd name="connsiteX2" fmla="*/ 3674032 w 3674032"/>
              <a:gd name="connsiteY2" fmla="*/ 6 h 7106038"/>
              <a:gd name="connsiteX3" fmla="*/ 2450033 w 3674032"/>
              <a:gd name="connsiteY3" fmla="*/ 6872288 h 7106038"/>
              <a:gd name="connsiteX4" fmla="*/ 2450032 w 3674032"/>
              <a:gd name="connsiteY4" fmla="*/ 6872288 h 7106038"/>
              <a:gd name="connsiteX5" fmla="*/ 113 w 3674032"/>
              <a:gd name="connsiteY5" fmla="*/ 6854825 h 7106038"/>
              <a:gd name="connsiteX6" fmla="*/ 2898 w 3674032"/>
              <a:gd name="connsiteY6" fmla="*/ 0 h 7106038"/>
              <a:gd name="connsiteX0" fmla="*/ 2898 w 3674032"/>
              <a:gd name="connsiteY0" fmla="*/ 0 h 7113022"/>
              <a:gd name="connsiteX1" fmla="*/ 3674032 w 3674032"/>
              <a:gd name="connsiteY1" fmla="*/ 0 h 7113022"/>
              <a:gd name="connsiteX2" fmla="*/ 3674032 w 3674032"/>
              <a:gd name="connsiteY2" fmla="*/ 6 h 7113022"/>
              <a:gd name="connsiteX3" fmla="*/ 2450033 w 3674032"/>
              <a:gd name="connsiteY3" fmla="*/ 6872288 h 7113022"/>
              <a:gd name="connsiteX4" fmla="*/ 2450032 w 3674032"/>
              <a:gd name="connsiteY4" fmla="*/ 6872288 h 7113022"/>
              <a:gd name="connsiteX5" fmla="*/ 112 w 3674032"/>
              <a:gd name="connsiteY5" fmla="*/ 6864350 h 7113022"/>
              <a:gd name="connsiteX6" fmla="*/ 2898 w 3674032"/>
              <a:gd name="connsiteY6" fmla="*/ 0 h 7113022"/>
              <a:gd name="connsiteX0" fmla="*/ 2898 w 3674032"/>
              <a:gd name="connsiteY0" fmla="*/ 0 h 6872288"/>
              <a:gd name="connsiteX1" fmla="*/ 3674032 w 3674032"/>
              <a:gd name="connsiteY1" fmla="*/ 0 h 6872288"/>
              <a:gd name="connsiteX2" fmla="*/ 3674032 w 3674032"/>
              <a:gd name="connsiteY2" fmla="*/ 6 h 6872288"/>
              <a:gd name="connsiteX3" fmla="*/ 2450033 w 3674032"/>
              <a:gd name="connsiteY3" fmla="*/ 6872288 h 6872288"/>
              <a:gd name="connsiteX4" fmla="*/ 2450032 w 3674032"/>
              <a:gd name="connsiteY4" fmla="*/ 6872288 h 6872288"/>
              <a:gd name="connsiteX5" fmla="*/ 112 w 3674032"/>
              <a:gd name="connsiteY5" fmla="*/ 6864350 h 6872288"/>
              <a:gd name="connsiteX6" fmla="*/ 2898 w 3674032"/>
              <a:gd name="connsiteY6" fmla="*/ 0 h 6872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74032" h="6872288">
                <a:moveTo>
                  <a:pt x="2898" y="0"/>
                </a:moveTo>
                <a:lnTo>
                  <a:pt x="3674032" y="0"/>
                </a:lnTo>
                <a:lnTo>
                  <a:pt x="3674032" y="6"/>
                </a:lnTo>
                <a:lnTo>
                  <a:pt x="2450033" y="6872288"/>
                </a:lnTo>
                <a:lnTo>
                  <a:pt x="2450032" y="6872288"/>
                </a:lnTo>
                <a:lnTo>
                  <a:pt x="112" y="6864350"/>
                </a:lnTo>
                <a:cubicBezTo>
                  <a:pt x="-760" y="5127625"/>
                  <a:pt x="3770" y="1736725"/>
                  <a:pt x="2898" y="0"/>
                </a:cubicBezTo>
                <a:close/>
              </a:path>
            </a:pathLst>
          </a:custGeom>
          <a:solidFill>
            <a:schemeClr val="accent1">
              <a:alpha val="32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1" name="Textplatzhalter 30">
            <a:extLst>
              <a:ext uri="{FF2B5EF4-FFF2-40B4-BE49-F238E27FC236}">
                <a16:creationId xmlns:a16="http://schemas.microsoft.com/office/drawing/2014/main" id="{6648EEAE-DE3B-420C-B2DE-93ED16F8CCC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231904" y="-1"/>
            <a:ext cx="2160000" cy="2780617"/>
          </a:xfrm>
          <a:prstGeom prst="rect">
            <a:avLst/>
          </a:prstGeom>
          <a:solidFill>
            <a:schemeClr val="accent1">
              <a:alpha val="20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2" name="Textplatzhalter 31">
            <a:extLst>
              <a:ext uri="{FF2B5EF4-FFF2-40B4-BE49-F238E27FC236}">
                <a16:creationId xmlns:a16="http://schemas.microsoft.com/office/drawing/2014/main" id="{B9155CBF-0CAF-42E3-AC21-F9E23BCBC6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231904" y="-3"/>
            <a:ext cx="1440000" cy="2780619"/>
          </a:xfrm>
          <a:prstGeom prst="rect">
            <a:avLst/>
          </a:prstGeom>
          <a:solidFill>
            <a:schemeClr val="accent1">
              <a:alpha val="46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3" name="Textplatzhalter 32">
            <a:extLst>
              <a:ext uri="{FF2B5EF4-FFF2-40B4-BE49-F238E27FC236}">
                <a16:creationId xmlns:a16="http://schemas.microsoft.com/office/drawing/2014/main" id="{AB46E5C9-636A-43DE-AB46-BD39B87BBFB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232064" y="-1"/>
            <a:ext cx="1440000" cy="2780618"/>
          </a:xfrm>
          <a:custGeom>
            <a:avLst/>
            <a:gdLst>
              <a:gd name="connsiteX0" fmla="*/ 0 w 2598738"/>
              <a:gd name="connsiteY0" fmla="*/ 0 h 6872288"/>
              <a:gd name="connsiteX1" fmla="*/ 2598738 w 2598738"/>
              <a:gd name="connsiteY1" fmla="*/ 0 h 6872288"/>
              <a:gd name="connsiteX2" fmla="*/ 2598738 w 2598738"/>
              <a:gd name="connsiteY2" fmla="*/ 42888 h 6872288"/>
              <a:gd name="connsiteX3" fmla="*/ 3566 w 2598738"/>
              <a:gd name="connsiteY3" fmla="*/ 6872288 h 6872288"/>
              <a:gd name="connsiteX4" fmla="*/ 0 w 2598738"/>
              <a:gd name="connsiteY4" fmla="*/ 6872288 h 6872288"/>
              <a:gd name="connsiteX0" fmla="*/ 0 w 2598738"/>
              <a:gd name="connsiteY0" fmla="*/ 0 h 6872288"/>
              <a:gd name="connsiteX1" fmla="*/ 2598738 w 2598738"/>
              <a:gd name="connsiteY1" fmla="*/ 0 h 6872288"/>
              <a:gd name="connsiteX2" fmla="*/ 3566 w 2598738"/>
              <a:gd name="connsiteY2" fmla="*/ 6872288 h 6872288"/>
              <a:gd name="connsiteX3" fmla="*/ 0 w 2598738"/>
              <a:gd name="connsiteY3" fmla="*/ 6872288 h 6872288"/>
              <a:gd name="connsiteX4" fmla="*/ 0 w 2598738"/>
              <a:gd name="connsiteY4" fmla="*/ 0 h 6872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98738" h="6872288">
                <a:moveTo>
                  <a:pt x="0" y="0"/>
                </a:moveTo>
                <a:lnTo>
                  <a:pt x="2598738" y="0"/>
                </a:lnTo>
                <a:lnTo>
                  <a:pt x="3566" y="6872288"/>
                </a:lnTo>
                <a:lnTo>
                  <a:pt x="0" y="687228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6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3136FB6-2459-40BA-89FC-1C0C4A085B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07368" y="4002982"/>
            <a:ext cx="3168000" cy="1584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50B90DF4-2122-40A6-B0D7-CFBAA91F4F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02982"/>
            <a:ext cx="3168000" cy="1584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5B50EB4E-71BC-49D0-A120-31E1C616C7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616280" y="4002982"/>
            <a:ext cx="3168000" cy="1584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FC14F9F6-F721-4417-90F7-08AB8D5DF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348" y="3498946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85674" y="85465"/>
                </a:moveTo>
                <a:cubicBezTo>
                  <a:pt x="181593" y="93712"/>
                  <a:pt x="174648" y="102220"/>
                  <a:pt x="164838" y="110989"/>
                </a:cubicBezTo>
                <a:cubicBezTo>
                  <a:pt x="155028" y="119757"/>
                  <a:pt x="143568" y="127223"/>
                  <a:pt x="130459" y="133387"/>
                </a:cubicBezTo>
                <a:lnTo>
                  <a:pt x="130459" y="156046"/>
                </a:lnTo>
                <a:cubicBezTo>
                  <a:pt x="137751" y="153355"/>
                  <a:pt x="145977" y="149318"/>
                  <a:pt x="155136" y="143935"/>
                </a:cubicBezTo>
                <a:cubicBezTo>
                  <a:pt x="164295" y="138553"/>
                  <a:pt x="171696" y="133170"/>
                  <a:pt x="177339" y="127787"/>
                </a:cubicBezTo>
                <a:lnTo>
                  <a:pt x="177339" y="277155"/>
                </a:lnTo>
                <a:lnTo>
                  <a:pt x="200780" y="277155"/>
                </a:lnTo>
                <a:lnTo>
                  <a:pt x="200780" y="85465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3F2101C-1187-435C-8716-158E07140A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844" y="3498946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5907" y="85465"/>
                </a:moveTo>
                <a:cubicBezTo>
                  <a:pt x="157763" y="85465"/>
                  <a:pt x="143308" y="90174"/>
                  <a:pt x="132542" y="99594"/>
                </a:cubicBezTo>
                <a:cubicBezTo>
                  <a:pt x="121777" y="109013"/>
                  <a:pt x="115570" y="122709"/>
                  <a:pt x="113920" y="140680"/>
                </a:cubicBezTo>
                <a:lnTo>
                  <a:pt x="138012" y="143154"/>
                </a:lnTo>
                <a:cubicBezTo>
                  <a:pt x="138099" y="131173"/>
                  <a:pt x="141528" y="121797"/>
                  <a:pt x="148300" y="115025"/>
                </a:cubicBezTo>
                <a:cubicBezTo>
                  <a:pt x="155071" y="108254"/>
                  <a:pt x="164100" y="104868"/>
                  <a:pt x="175386" y="104868"/>
                </a:cubicBezTo>
                <a:cubicBezTo>
                  <a:pt x="186065" y="104868"/>
                  <a:pt x="194725" y="108058"/>
                  <a:pt x="201366" y="114439"/>
                </a:cubicBezTo>
                <a:cubicBezTo>
                  <a:pt x="208008" y="120820"/>
                  <a:pt x="211328" y="128656"/>
                  <a:pt x="211328" y="137945"/>
                </a:cubicBezTo>
                <a:cubicBezTo>
                  <a:pt x="211328" y="146800"/>
                  <a:pt x="207682" y="156198"/>
                  <a:pt x="200389" y="166139"/>
                </a:cubicBezTo>
                <a:cubicBezTo>
                  <a:pt x="193097" y="176079"/>
                  <a:pt x="179076" y="189557"/>
                  <a:pt x="158327" y="206573"/>
                </a:cubicBezTo>
                <a:cubicBezTo>
                  <a:pt x="144957" y="217512"/>
                  <a:pt x="134735" y="227149"/>
                  <a:pt x="127659" y="235483"/>
                </a:cubicBezTo>
                <a:cubicBezTo>
                  <a:pt x="120583" y="243818"/>
                  <a:pt x="115440" y="252282"/>
                  <a:pt x="112227" y="260877"/>
                </a:cubicBezTo>
                <a:cubicBezTo>
                  <a:pt x="110231" y="266086"/>
                  <a:pt x="109319" y="271512"/>
                  <a:pt x="109493" y="277155"/>
                </a:cubicBezTo>
                <a:lnTo>
                  <a:pt x="235680" y="277155"/>
                </a:lnTo>
                <a:lnTo>
                  <a:pt x="235680" y="254626"/>
                </a:lnTo>
                <a:lnTo>
                  <a:pt x="142049" y="254626"/>
                </a:lnTo>
                <a:cubicBezTo>
                  <a:pt x="144653" y="250372"/>
                  <a:pt x="147952" y="246140"/>
                  <a:pt x="151946" y="241929"/>
                </a:cubicBezTo>
                <a:cubicBezTo>
                  <a:pt x="155939" y="237719"/>
                  <a:pt x="164968" y="229710"/>
                  <a:pt x="179033" y="217903"/>
                </a:cubicBezTo>
                <a:cubicBezTo>
                  <a:pt x="195875" y="203665"/>
                  <a:pt x="207921" y="192466"/>
                  <a:pt x="215170" y="184305"/>
                </a:cubicBezTo>
                <a:cubicBezTo>
                  <a:pt x="222419" y="176144"/>
                  <a:pt x="227606" y="168374"/>
                  <a:pt x="230732" y="160995"/>
                </a:cubicBezTo>
                <a:cubicBezTo>
                  <a:pt x="233857" y="153615"/>
                  <a:pt x="235420" y="146106"/>
                  <a:pt x="235420" y="138466"/>
                </a:cubicBezTo>
                <a:cubicBezTo>
                  <a:pt x="235420" y="123447"/>
                  <a:pt x="230081" y="110858"/>
                  <a:pt x="219402" y="100701"/>
                </a:cubicBezTo>
                <a:cubicBezTo>
                  <a:pt x="208724" y="90543"/>
                  <a:pt x="194225" y="85465"/>
                  <a:pt x="175907" y="8546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3C0D92AB-B8D7-423D-BC1D-38E947EFF2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616280" y="3498926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2371" y="85485"/>
                </a:moveTo>
                <a:cubicBezTo>
                  <a:pt x="157265" y="85485"/>
                  <a:pt x="144633" y="89804"/>
                  <a:pt x="134476" y="98442"/>
                </a:cubicBezTo>
                <a:cubicBezTo>
                  <a:pt x="124318" y="107080"/>
                  <a:pt x="117807" y="119256"/>
                  <a:pt x="114942" y="134970"/>
                </a:cubicBezTo>
                <a:lnTo>
                  <a:pt x="138382" y="139137"/>
                </a:lnTo>
                <a:cubicBezTo>
                  <a:pt x="140119" y="127677"/>
                  <a:pt x="144025" y="119082"/>
                  <a:pt x="150102" y="113353"/>
                </a:cubicBezTo>
                <a:cubicBezTo>
                  <a:pt x="156180" y="107623"/>
                  <a:pt x="163776" y="104758"/>
                  <a:pt x="172892" y="104758"/>
                </a:cubicBezTo>
                <a:cubicBezTo>
                  <a:pt x="182094" y="104758"/>
                  <a:pt x="189604" y="107579"/>
                  <a:pt x="195421" y="113222"/>
                </a:cubicBezTo>
                <a:cubicBezTo>
                  <a:pt x="201237" y="118865"/>
                  <a:pt x="204146" y="125984"/>
                  <a:pt x="204146" y="134579"/>
                </a:cubicBezTo>
                <a:cubicBezTo>
                  <a:pt x="204146" y="145431"/>
                  <a:pt x="200152" y="153462"/>
                  <a:pt x="192165" y="158671"/>
                </a:cubicBezTo>
                <a:cubicBezTo>
                  <a:pt x="184178" y="163880"/>
                  <a:pt x="175192" y="166484"/>
                  <a:pt x="165209" y="166484"/>
                </a:cubicBezTo>
                <a:cubicBezTo>
                  <a:pt x="164254" y="166484"/>
                  <a:pt x="162995" y="166397"/>
                  <a:pt x="161432" y="166224"/>
                </a:cubicBezTo>
                <a:lnTo>
                  <a:pt x="158828" y="186799"/>
                </a:lnTo>
                <a:cubicBezTo>
                  <a:pt x="165426" y="185063"/>
                  <a:pt x="170938" y="184195"/>
                  <a:pt x="175366" y="184195"/>
                </a:cubicBezTo>
                <a:cubicBezTo>
                  <a:pt x="186218" y="184195"/>
                  <a:pt x="195160" y="187689"/>
                  <a:pt x="202192" y="194678"/>
                </a:cubicBezTo>
                <a:cubicBezTo>
                  <a:pt x="209224" y="201667"/>
                  <a:pt x="212741" y="210544"/>
                  <a:pt x="212741" y="221309"/>
                </a:cubicBezTo>
                <a:cubicBezTo>
                  <a:pt x="212741" y="232595"/>
                  <a:pt x="208942" y="242058"/>
                  <a:pt x="201346" y="249698"/>
                </a:cubicBezTo>
                <a:cubicBezTo>
                  <a:pt x="193749" y="257338"/>
                  <a:pt x="184438" y="261158"/>
                  <a:pt x="173413" y="261158"/>
                </a:cubicBezTo>
                <a:cubicBezTo>
                  <a:pt x="164123" y="261158"/>
                  <a:pt x="156245" y="258227"/>
                  <a:pt x="149777" y="252367"/>
                </a:cubicBezTo>
                <a:cubicBezTo>
                  <a:pt x="143309" y="246507"/>
                  <a:pt x="138730" y="236936"/>
                  <a:pt x="136038" y="223653"/>
                </a:cubicBezTo>
                <a:lnTo>
                  <a:pt x="112598" y="226778"/>
                </a:lnTo>
                <a:cubicBezTo>
                  <a:pt x="114161" y="242666"/>
                  <a:pt x="120476" y="255601"/>
                  <a:pt x="131546" y="265585"/>
                </a:cubicBezTo>
                <a:cubicBezTo>
                  <a:pt x="142615" y="275569"/>
                  <a:pt x="156527" y="280561"/>
                  <a:pt x="173282" y="280561"/>
                </a:cubicBezTo>
                <a:cubicBezTo>
                  <a:pt x="191861" y="280561"/>
                  <a:pt x="207228" y="274766"/>
                  <a:pt x="219382" y="263176"/>
                </a:cubicBezTo>
                <a:cubicBezTo>
                  <a:pt x="231536" y="251586"/>
                  <a:pt x="237613" y="237457"/>
                  <a:pt x="237613" y="220788"/>
                </a:cubicBezTo>
                <a:cubicBezTo>
                  <a:pt x="237613" y="208460"/>
                  <a:pt x="234488" y="198194"/>
                  <a:pt x="228237" y="189990"/>
                </a:cubicBezTo>
                <a:cubicBezTo>
                  <a:pt x="221986" y="181786"/>
                  <a:pt x="213218" y="176381"/>
                  <a:pt x="201932" y="173777"/>
                </a:cubicBezTo>
                <a:cubicBezTo>
                  <a:pt x="210614" y="169783"/>
                  <a:pt x="217168" y="164401"/>
                  <a:pt x="221596" y="157629"/>
                </a:cubicBezTo>
                <a:cubicBezTo>
                  <a:pt x="226023" y="150857"/>
                  <a:pt x="228237" y="143348"/>
                  <a:pt x="228237" y="135100"/>
                </a:cubicBezTo>
                <a:cubicBezTo>
                  <a:pt x="228237" y="126418"/>
                  <a:pt x="225915" y="118214"/>
                  <a:pt x="221270" y="110488"/>
                </a:cubicBezTo>
                <a:cubicBezTo>
                  <a:pt x="216626" y="102761"/>
                  <a:pt x="209919" y="96662"/>
                  <a:pt x="201151" y="92191"/>
                </a:cubicBezTo>
                <a:cubicBezTo>
                  <a:pt x="192382" y="87720"/>
                  <a:pt x="182789" y="85485"/>
                  <a:pt x="172371" y="8548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7E980EF-DF98-4285-A3F6-3F0880748DE8}"/>
              </a:ext>
            </a:extLst>
          </p:cNvPr>
          <p:cNvSpPr/>
          <p:nvPr userDrawn="1"/>
        </p:nvSpPr>
        <p:spPr bwMode="gray">
          <a:xfrm>
            <a:off x="0" y="-1"/>
            <a:ext cx="5256000" cy="27806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noProof="0"/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FBBF9BBD-ACB5-4A6A-9848-F76231A756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64700"/>
            <a:ext cx="4536504" cy="1619964"/>
          </a:xfrm>
        </p:spPr>
        <p:txBody>
          <a:bodyPr anchor="b" anchorCtr="0"/>
          <a:lstStyle>
            <a:lvl1pPr>
              <a:lnSpc>
                <a:spcPct val="100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he title of the presentation</a:t>
            </a:r>
          </a:p>
        </p:txBody>
      </p:sp>
      <p:sp>
        <p:nvSpPr>
          <p:cNvPr id="33" name="Textplatzhalter 9">
            <a:extLst>
              <a:ext uri="{FF2B5EF4-FFF2-40B4-BE49-F238E27FC236}">
                <a16:creationId xmlns:a16="http://schemas.microsoft.com/office/drawing/2014/main" id="{2E7FA3AE-FF41-47F4-B56F-12ED173F59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07368" y="404664"/>
            <a:ext cx="215900" cy="216000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515656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itle + 1/2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1E773914-63E0-4980-BEEC-5E303EB378EC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5663503" y="1635324"/>
            <a:ext cx="6528497" cy="5229225"/>
          </a:xfrm>
          <a:solidFill>
            <a:schemeClr val="bg2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6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6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6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6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6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6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6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/>
              <a:t>Optional: To add a picture click the icon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E0B03A5E-A2CC-4265-8332-73E407B526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3519" y="404664"/>
            <a:ext cx="2016000" cy="484994"/>
          </a:xfrm>
          <a:prstGeom prst="rect">
            <a:avLst/>
          </a:prstGeom>
        </p:spPr>
      </p:pic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2C9BFDF0-7E68-4DA1-8F12-0C7958C617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0" y="1635324"/>
            <a:ext cx="8688388" cy="5230800"/>
          </a:xfrm>
          <a:solidFill>
            <a:schemeClr val="accent1">
              <a:alpha val="14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4B813ABD-0FAA-4B9F-BDA0-D7949E9CB5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0" y="1635324"/>
            <a:ext cx="8688288" cy="5230800"/>
          </a:xfrm>
          <a:custGeom>
            <a:avLst/>
            <a:gdLst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688388 w 8688388"/>
              <a:gd name="connsiteY2" fmla="*/ 6502988 h 6843712"/>
              <a:gd name="connsiteX3" fmla="*/ 8489074 w 8688388"/>
              <a:gd name="connsiteY3" fmla="*/ 6843712 h 6843712"/>
              <a:gd name="connsiteX4" fmla="*/ 0 w 8688388"/>
              <a:gd name="connsiteY4" fmla="*/ 6843712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489074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261968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88388" h="6843712">
                <a:moveTo>
                  <a:pt x="0" y="0"/>
                </a:moveTo>
                <a:lnTo>
                  <a:pt x="8688388" y="0"/>
                </a:lnTo>
                <a:lnTo>
                  <a:pt x="8261968" y="6843712"/>
                </a:lnTo>
                <a:lnTo>
                  <a:pt x="0" y="684371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29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AE401327-002F-4F0C-811B-9EFAEABAAF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1635324"/>
            <a:ext cx="8256588" cy="5230800"/>
          </a:xfrm>
          <a:solidFill>
            <a:schemeClr val="accent1">
              <a:alpha val="43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800347A-B6C1-4875-A07F-8FCDBA3CFE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1635324"/>
            <a:ext cx="8262938" cy="5230800"/>
          </a:xfrm>
          <a:custGeom>
            <a:avLst/>
            <a:gdLst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688388 w 8688388"/>
              <a:gd name="connsiteY2" fmla="*/ 6502988 h 6843712"/>
              <a:gd name="connsiteX3" fmla="*/ 8489074 w 8688388"/>
              <a:gd name="connsiteY3" fmla="*/ 6843712 h 6843712"/>
              <a:gd name="connsiteX4" fmla="*/ 0 w 8688388"/>
              <a:gd name="connsiteY4" fmla="*/ 6843712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489074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261968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826196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938" h="6850035">
                <a:moveTo>
                  <a:pt x="0" y="6323"/>
                </a:moveTo>
                <a:lnTo>
                  <a:pt x="8262938" y="0"/>
                </a:lnTo>
                <a:cubicBezTo>
                  <a:pt x="8040365" y="1606732"/>
                  <a:pt x="7608241" y="4851248"/>
                  <a:pt x="7392018" y="6850035"/>
                </a:cubicBezTo>
                <a:lnTo>
                  <a:pt x="0" y="6850035"/>
                </a:lnTo>
                <a:lnTo>
                  <a:pt x="0" y="6323"/>
                </a:lnTo>
                <a:close/>
              </a:path>
            </a:pathLst>
          </a:custGeom>
          <a:solidFill>
            <a:schemeClr val="accent1">
              <a:alpha val="71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4FC925E7-5885-4560-8FF6-7CB6741C80E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0" y="1635324"/>
            <a:ext cx="7391400" cy="5230800"/>
          </a:xfrm>
          <a:solidFill>
            <a:schemeClr val="accent1">
              <a:alpha val="37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1DC07434-1A02-4D63-AFB2-B68A9D1CC4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" y="1635324"/>
            <a:ext cx="7384446" cy="5230800"/>
          </a:xfrm>
          <a:custGeom>
            <a:avLst/>
            <a:gdLst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688388 w 8688388"/>
              <a:gd name="connsiteY2" fmla="*/ 6502988 h 6843712"/>
              <a:gd name="connsiteX3" fmla="*/ 8489074 w 8688388"/>
              <a:gd name="connsiteY3" fmla="*/ 6843712 h 6843712"/>
              <a:gd name="connsiteX4" fmla="*/ 0 w 8688388"/>
              <a:gd name="connsiteY4" fmla="*/ 6843712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489074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261968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826196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7452925"/>
              <a:gd name="connsiteY0" fmla="*/ 6323 h 6850035"/>
              <a:gd name="connsiteX1" fmla="*/ 7384397 w 7452925"/>
              <a:gd name="connsiteY1" fmla="*/ 0 h 6850035"/>
              <a:gd name="connsiteX2" fmla="*/ 7392018 w 7452925"/>
              <a:gd name="connsiteY2" fmla="*/ 6850035 h 6850035"/>
              <a:gd name="connsiteX3" fmla="*/ 0 w 7452925"/>
              <a:gd name="connsiteY3" fmla="*/ 6850035 h 6850035"/>
              <a:gd name="connsiteX4" fmla="*/ 0 w 7452925"/>
              <a:gd name="connsiteY4" fmla="*/ 6323 h 6850035"/>
              <a:gd name="connsiteX0" fmla="*/ 0 w 7384397"/>
              <a:gd name="connsiteY0" fmla="*/ 6323 h 6856831"/>
              <a:gd name="connsiteX1" fmla="*/ 7384397 w 7384397"/>
              <a:gd name="connsiteY1" fmla="*/ 0 h 6856831"/>
              <a:gd name="connsiteX2" fmla="*/ 5645105 w 7384397"/>
              <a:gd name="connsiteY2" fmla="*/ 6856831 h 6856831"/>
              <a:gd name="connsiteX3" fmla="*/ 0 w 7384397"/>
              <a:gd name="connsiteY3" fmla="*/ 6850035 h 6856831"/>
              <a:gd name="connsiteX4" fmla="*/ 0 w 7384397"/>
              <a:gd name="connsiteY4" fmla="*/ 6323 h 6856831"/>
              <a:gd name="connsiteX0" fmla="*/ 0 w 7384397"/>
              <a:gd name="connsiteY0" fmla="*/ 6323 h 6856831"/>
              <a:gd name="connsiteX1" fmla="*/ 7384397 w 7384397"/>
              <a:gd name="connsiteY1" fmla="*/ 0 h 6856831"/>
              <a:gd name="connsiteX2" fmla="*/ 5645105 w 7384397"/>
              <a:gd name="connsiteY2" fmla="*/ 6856831 h 6856831"/>
              <a:gd name="connsiteX3" fmla="*/ 0 w 7384397"/>
              <a:gd name="connsiteY3" fmla="*/ 6850035 h 6856831"/>
              <a:gd name="connsiteX4" fmla="*/ 0 w 7384397"/>
              <a:gd name="connsiteY4" fmla="*/ 6323 h 6856831"/>
              <a:gd name="connsiteX0" fmla="*/ 0 w 7384397"/>
              <a:gd name="connsiteY0" fmla="*/ 6323 h 6856831"/>
              <a:gd name="connsiteX1" fmla="*/ 7384397 w 7384397"/>
              <a:gd name="connsiteY1" fmla="*/ 0 h 6856831"/>
              <a:gd name="connsiteX2" fmla="*/ 5645105 w 7384397"/>
              <a:gd name="connsiteY2" fmla="*/ 6856831 h 6856831"/>
              <a:gd name="connsiteX3" fmla="*/ 0 w 7384397"/>
              <a:gd name="connsiteY3" fmla="*/ 6850035 h 6856831"/>
              <a:gd name="connsiteX4" fmla="*/ 0 w 7384397"/>
              <a:gd name="connsiteY4" fmla="*/ 6323 h 6856831"/>
              <a:gd name="connsiteX0" fmla="*/ 0 w 7384397"/>
              <a:gd name="connsiteY0" fmla="*/ 80 h 6856831"/>
              <a:gd name="connsiteX1" fmla="*/ 7384397 w 7384397"/>
              <a:gd name="connsiteY1" fmla="*/ 0 h 6856831"/>
              <a:gd name="connsiteX2" fmla="*/ 5645105 w 7384397"/>
              <a:gd name="connsiteY2" fmla="*/ 6856831 h 6856831"/>
              <a:gd name="connsiteX3" fmla="*/ 0 w 7384397"/>
              <a:gd name="connsiteY3" fmla="*/ 6850035 h 6856831"/>
              <a:gd name="connsiteX4" fmla="*/ 0 w 7384397"/>
              <a:gd name="connsiteY4" fmla="*/ 80 h 6856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84397" h="6856831">
                <a:moveTo>
                  <a:pt x="0" y="80"/>
                </a:moveTo>
                <a:lnTo>
                  <a:pt x="7384397" y="0"/>
                </a:lnTo>
                <a:cubicBezTo>
                  <a:pt x="7114199" y="1018647"/>
                  <a:pt x="6213753" y="4829589"/>
                  <a:pt x="5645105" y="6856831"/>
                </a:cubicBezTo>
                <a:lnTo>
                  <a:pt x="0" y="6850035"/>
                </a:lnTo>
                <a:lnTo>
                  <a:pt x="0" y="80"/>
                </a:lnTo>
                <a:close/>
              </a:path>
            </a:pathLst>
          </a:custGeom>
          <a:solidFill>
            <a:schemeClr val="accent1">
              <a:alpha val="86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412F5A90-43FA-492A-AEAB-264129C33F5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0" y="1635324"/>
            <a:ext cx="5663503" cy="5230800"/>
          </a:xfrm>
          <a:solidFill>
            <a:schemeClr val="accent1"/>
          </a:solidFill>
        </p:spPr>
        <p:txBody>
          <a:bodyPr lIns="396000" tIns="1440000" rIns="396000" bIns="1440000" anchor="b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Max. triple-spaced titl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71E7EE0-4D83-4B84-8E59-98B80684F7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5542" y="627831"/>
            <a:ext cx="134909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93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7" dur="2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8" dur="2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1" dur="2000" fill="hold"/>
                                            <p:tgtEl>
                                              <p:spTgt spid="2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2" dur="2000" fill="hold"/>
                                            <p:tgtEl>
                                              <p:spTgt spid="2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5" dur="2000" fill="hold"/>
                                            <p:tgtEl>
                                              <p:spTgt spid="2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6" dur="2000" fill="hold"/>
                                            <p:tgtEl>
                                              <p:spTgt spid="2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9" dur="2500" fill="hold"/>
                                            <p:tgtEl>
                                              <p:spTgt spid="3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0" dur="2500" fill="hold"/>
                                            <p:tgtEl>
                                              <p:spTgt spid="3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3" dur="2500" fill="hold"/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4" dur="2500" fill="hold"/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7" dur="2000" fill="hold"/>
                                            <p:tgtEl>
                                              <p:spTgt spid="3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8" dur="2000" fill="hold"/>
                                            <p:tgtEl>
                                              <p:spTgt spid="3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1" dur="2000" fill="hold"/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2" dur="2000" fill="hold"/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5" dur="2500" fill="hold"/>
                                            <p:tgtEl>
                                              <p:spTgt spid="3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6" dur="2500" fill="hold"/>
                                            <p:tgtEl>
                                              <p:spTgt spid="3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9" dur="2500" fill="hold"/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40" dur="2500" fill="hold"/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43" dur="2000" fill="hold"/>
                                            <p:tgtEl>
                                              <p:spTgt spid="37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44" dur="2000" fill="hold"/>
                                            <p:tgtEl>
                                              <p:spTgt spid="37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47" dur="2000" fill="hold"/>
                                            <p:tgtEl>
                                              <p:spTgt spid="37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48" dur="2000" fill="hold"/>
                                            <p:tgtEl>
                                              <p:spTgt spid="37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51" dur="2000" fill="hold"/>
                                            <p:tgtEl>
                                              <p:spTgt spid="3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52" dur="2000" fill="hold"/>
                                            <p:tgtEl>
                                              <p:spTgt spid="3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55" dur="2000" fill="hold"/>
                                            <p:tgtEl>
                                              <p:spTgt spid="3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56" dur="2000" fill="hold"/>
                                            <p:tgtEl>
                                              <p:spTgt spid="3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7" presetID="2" presetClass="entr" presetSubtype="2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9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0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7" grpId="0" animBg="1"/>
          <p:bldP spid="28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2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2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2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2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4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5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6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7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8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3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9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2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2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2000" fill="hold"/>
                                            <p:tgtEl>
                                              <p:spTgt spid="2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2000" fill="hold"/>
                                            <p:tgtEl>
                                              <p:spTgt spid="2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2500" fill="hold"/>
                                            <p:tgtEl>
                                              <p:spTgt spid="3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2500" fill="hold"/>
                                            <p:tgtEl>
                                              <p:spTgt spid="3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2500" fill="hold"/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2500" fill="hold"/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2000" fill="hold"/>
                                            <p:tgtEl>
                                              <p:spTgt spid="3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2000" fill="hold"/>
                                            <p:tgtEl>
                                              <p:spTgt spid="3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2000" fill="hold"/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2000" fill="hold"/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2500" fill="hold"/>
                                            <p:tgtEl>
                                              <p:spTgt spid="3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2500" fill="hold"/>
                                            <p:tgtEl>
                                              <p:spTgt spid="3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9" dur="2500" fill="hold"/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0" dur="2500" fill="hold"/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3" dur="2000" fill="hold"/>
                                            <p:tgtEl>
                                              <p:spTgt spid="37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4" dur="2000" fill="hold"/>
                                            <p:tgtEl>
                                              <p:spTgt spid="37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7" dur="2000" fill="hold"/>
                                            <p:tgtEl>
                                              <p:spTgt spid="37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8" dur="2000" fill="hold"/>
                                            <p:tgtEl>
                                              <p:spTgt spid="37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1" dur="2000" fill="hold"/>
                                            <p:tgtEl>
                                              <p:spTgt spid="3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2" dur="2000" fill="hold"/>
                                            <p:tgtEl>
                                              <p:spTgt spid="38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5" dur="2000" fill="hold"/>
                                            <p:tgtEl>
                                              <p:spTgt spid="3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6" dur="2000" fill="hold"/>
                                            <p:tgtEl>
                                              <p:spTgt spid="3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7" presetID="2" presetClass="entr" presetSubtype="2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9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0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7" grpId="0" animBg="1"/>
          <p:bldP spid="28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2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2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2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2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4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3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3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3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3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5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3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3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3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3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6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3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3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3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3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7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3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3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3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3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8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3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3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3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3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9" grpId="0" animBg="1"/>
        </p:bldLst>
      </p:timing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+ 1/4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D0228D2-9D14-413A-AB7E-524051915A7B}"/>
              </a:ext>
            </a:extLst>
          </p:cNvPr>
          <p:cNvSpPr/>
          <p:nvPr userDrawn="1"/>
        </p:nvSpPr>
        <p:spPr bwMode="gray">
          <a:xfrm>
            <a:off x="0" y="1628775"/>
            <a:ext cx="12192000" cy="52292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Bildplatzhalter 26">
            <a:extLst>
              <a:ext uri="{FF2B5EF4-FFF2-40B4-BE49-F238E27FC236}">
                <a16:creationId xmlns:a16="http://schemas.microsoft.com/office/drawing/2014/main" id="{8E27FC97-AAB3-4AFC-8BE3-9873030F29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400256" y="1628775"/>
            <a:ext cx="3791744" cy="5230800"/>
          </a:xfrm>
          <a:solidFill>
            <a:schemeClr val="accent4"/>
          </a:solidFill>
        </p:spPr>
        <p:txBody>
          <a:bodyPr tIns="309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Optional: To add a picture click the ico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0ABA4E6-0523-49AE-B570-6F11E2EDDE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1628775"/>
            <a:ext cx="10128250" cy="5230800"/>
          </a:xfrm>
          <a:solidFill>
            <a:schemeClr val="accent1">
              <a:alpha val="33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39D4DF4-D6FB-46FE-B465-C1A295607C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1628775"/>
            <a:ext cx="10103570" cy="5229224"/>
          </a:xfrm>
          <a:custGeom>
            <a:avLst/>
            <a:gdLst>
              <a:gd name="connsiteX0" fmla="*/ 0 w 10128250"/>
              <a:gd name="connsiteY0" fmla="*/ 0 h 6858000"/>
              <a:gd name="connsiteX1" fmla="*/ 10128250 w 10128250"/>
              <a:gd name="connsiteY1" fmla="*/ 0 h 6858000"/>
              <a:gd name="connsiteX2" fmla="*/ 10128250 w 10128250"/>
              <a:gd name="connsiteY2" fmla="*/ 6490196 h 6858000"/>
              <a:gd name="connsiteX3" fmla="*/ 9742955 w 10128250"/>
              <a:gd name="connsiteY3" fmla="*/ 6858000 h 6858000"/>
              <a:gd name="connsiteX4" fmla="*/ 0 w 10128250"/>
              <a:gd name="connsiteY4" fmla="*/ 6858000 h 6858000"/>
              <a:gd name="connsiteX0" fmla="*/ 0 w 10128250"/>
              <a:gd name="connsiteY0" fmla="*/ 0 h 6858000"/>
              <a:gd name="connsiteX1" fmla="*/ 10128250 w 10128250"/>
              <a:gd name="connsiteY1" fmla="*/ 0 h 6858000"/>
              <a:gd name="connsiteX2" fmla="*/ 9742955 w 10128250"/>
              <a:gd name="connsiteY2" fmla="*/ 6858000 h 6858000"/>
              <a:gd name="connsiteX3" fmla="*/ 0 w 10128250"/>
              <a:gd name="connsiteY3" fmla="*/ 6858000 h 6858000"/>
              <a:gd name="connsiteX4" fmla="*/ 0 w 10128250"/>
              <a:gd name="connsiteY4" fmla="*/ 0 h 6858000"/>
              <a:gd name="connsiteX0" fmla="*/ 0 w 10128250"/>
              <a:gd name="connsiteY0" fmla="*/ 0 h 6858000"/>
              <a:gd name="connsiteX1" fmla="*/ 10128250 w 10128250"/>
              <a:gd name="connsiteY1" fmla="*/ 0 h 6858000"/>
              <a:gd name="connsiteX2" fmla="*/ 8437723 w 10128250"/>
              <a:gd name="connsiteY2" fmla="*/ 6858000 h 6858000"/>
              <a:gd name="connsiteX3" fmla="*/ 0 w 10128250"/>
              <a:gd name="connsiteY3" fmla="*/ 6858000 h 6858000"/>
              <a:gd name="connsiteX4" fmla="*/ 0 w 1012825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8250" h="6858000">
                <a:moveTo>
                  <a:pt x="0" y="0"/>
                </a:moveTo>
                <a:lnTo>
                  <a:pt x="10128250" y="0"/>
                </a:lnTo>
                <a:lnTo>
                  <a:pt x="84377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63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A7271BF-E425-4962-BFFD-363A0B4BC1CC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0" y="1628775"/>
            <a:ext cx="8400256" cy="5230800"/>
          </a:xfrm>
          <a:solidFill>
            <a:schemeClr val="accent1"/>
          </a:solidFill>
        </p:spPr>
        <p:txBody>
          <a:bodyPr lIns="396000" tIns="1440000" rIns="396000" bIns="1440000" anchor="b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Max. triple-</a:t>
            </a:r>
            <a:br>
              <a:rPr lang="en-US" noProof="0"/>
            </a:br>
            <a:r>
              <a:rPr lang="en-US" noProof="0"/>
              <a:t>spaced titl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A14DF4D-718B-45D2-9AC1-C932D3156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3519" y="404664"/>
            <a:ext cx="2016000" cy="484994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98F5AB9F-319F-46D3-8686-F823C3E22E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5542" y="627831"/>
            <a:ext cx="134909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514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7" dur="2000" fill="hold"/>
                                            <p:tgtEl>
                                              <p:spTgt spid="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8" dur="2000" fill="hold"/>
                                            <p:tgtEl>
                                              <p:spTgt spid="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1" dur="2000" fill="hold"/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2" dur="2000" fill="hold"/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5" dur="2500" fill="hold"/>
                                            <p:tgtEl>
                                              <p:spTgt spid="3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6" dur="2500" fill="hold"/>
                                            <p:tgtEl>
                                              <p:spTgt spid="3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9" dur="2500" fill="hold"/>
                                            <p:tgtEl>
                                              <p:spTgt spid="3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0" dur="2500" fill="hold"/>
                                            <p:tgtEl>
                                              <p:spTgt spid="3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3" dur="2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4" dur="2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2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 animBg="1"/>
          <p:bldP spid="4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3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2500" fill="hold"/>
                                            <p:tgtEl>
                                              <p:spTgt spid="3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2500" fill="hold"/>
                                            <p:tgtEl>
                                              <p:spTgt spid="3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2500" fill="hold"/>
                                            <p:tgtEl>
                                              <p:spTgt spid="3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2500" fill="hold"/>
                                            <p:tgtEl>
                                              <p:spTgt spid="3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2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2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2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 animBg="1"/>
          <p:bldP spid="4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3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3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3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3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3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pos="638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agenda 3 poi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6">
            <a:extLst>
              <a:ext uri="{FF2B5EF4-FFF2-40B4-BE49-F238E27FC236}">
                <a16:creationId xmlns:a16="http://schemas.microsoft.com/office/drawing/2014/main" id="{895E292B-1E72-4D07-8111-9243F229074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5256000" y="0"/>
            <a:ext cx="6936001" cy="2780616"/>
          </a:xfrm>
          <a:solidFill>
            <a:schemeClr val="accent3"/>
          </a:solidFill>
        </p:spPr>
        <p:txBody>
          <a:bodyPr tIns="1584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Optional: To add a picture click the icon</a:t>
            </a:r>
          </a:p>
        </p:txBody>
      </p:sp>
      <p:sp>
        <p:nvSpPr>
          <p:cNvPr id="17" name="Textplatzhalter 28">
            <a:extLst>
              <a:ext uri="{FF2B5EF4-FFF2-40B4-BE49-F238E27FC236}">
                <a16:creationId xmlns:a16="http://schemas.microsoft.com/office/drawing/2014/main" id="{62068FD8-CDDA-4EED-9350-43FC4A20CEF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231904" y="-1"/>
            <a:ext cx="2159370" cy="2780617"/>
          </a:xfrm>
          <a:custGeom>
            <a:avLst/>
            <a:gdLst>
              <a:gd name="connsiteX0" fmla="*/ 0 w 1224000"/>
              <a:gd name="connsiteY0" fmla="*/ 0 h 6872288"/>
              <a:gd name="connsiteX1" fmla="*/ 1224000 w 1224000"/>
              <a:gd name="connsiteY1" fmla="*/ 0 h 6872288"/>
              <a:gd name="connsiteX2" fmla="*/ 1224000 w 1224000"/>
              <a:gd name="connsiteY2" fmla="*/ 6 h 6872288"/>
              <a:gd name="connsiteX3" fmla="*/ 1 w 1224000"/>
              <a:gd name="connsiteY3" fmla="*/ 6872288 h 6872288"/>
              <a:gd name="connsiteX4" fmla="*/ 0 w 1224000"/>
              <a:gd name="connsiteY4" fmla="*/ 6872288 h 6872288"/>
              <a:gd name="connsiteX0" fmla="*/ 2444517 w 3668517"/>
              <a:gd name="connsiteY0" fmla="*/ 0 h 7053344"/>
              <a:gd name="connsiteX1" fmla="*/ 3668517 w 3668517"/>
              <a:gd name="connsiteY1" fmla="*/ 0 h 7053344"/>
              <a:gd name="connsiteX2" fmla="*/ 3668517 w 3668517"/>
              <a:gd name="connsiteY2" fmla="*/ 6 h 7053344"/>
              <a:gd name="connsiteX3" fmla="*/ 2444518 w 3668517"/>
              <a:gd name="connsiteY3" fmla="*/ 6872288 h 7053344"/>
              <a:gd name="connsiteX4" fmla="*/ 2444517 w 3668517"/>
              <a:gd name="connsiteY4" fmla="*/ 6872288 h 7053344"/>
              <a:gd name="connsiteX5" fmla="*/ 0 w 3668517"/>
              <a:gd name="connsiteY5" fmla="*/ 6896100 h 7053344"/>
              <a:gd name="connsiteX6" fmla="*/ 2444517 w 3668517"/>
              <a:gd name="connsiteY6" fmla="*/ 0 h 7053344"/>
              <a:gd name="connsiteX0" fmla="*/ 0 w 3671134"/>
              <a:gd name="connsiteY0" fmla="*/ 0 h 7053344"/>
              <a:gd name="connsiteX1" fmla="*/ 3671134 w 3671134"/>
              <a:gd name="connsiteY1" fmla="*/ 0 h 7053344"/>
              <a:gd name="connsiteX2" fmla="*/ 3671134 w 3671134"/>
              <a:gd name="connsiteY2" fmla="*/ 6 h 7053344"/>
              <a:gd name="connsiteX3" fmla="*/ 2447135 w 3671134"/>
              <a:gd name="connsiteY3" fmla="*/ 6872288 h 7053344"/>
              <a:gd name="connsiteX4" fmla="*/ 2447134 w 3671134"/>
              <a:gd name="connsiteY4" fmla="*/ 6872288 h 7053344"/>
              <a:gd name="connsiteX5" fmla="*/ 2617 w 3671134"/>
              <a:gd name="connsiteY5" fmla="*/ 6896100 h 7053344"/>
              <a:gd name="connsiteX6" fmla="*/ 0 w 3671134"/>
              <a:gd name="connsiteY6" fmla="*/ 0 h 7053344"/>
              <a:gd name="connsiteX0" fmla="*/ 0 w 3671134"/>
              <a:gd name="connsiteY0" fmla="*/ 0 h 7136652"/>
              <a:gd name="connsiteX1" fmla="*/ 3671134 w 3671134"/>
              <a:gd name="connsiteY1" fmla="*/ 0 h 7136652"/>
              <a:gd name="connsiteX2" fmla="*/ 3671134 w 3671134"/>
              <a:gd name="connsiteY2" fmla="*/ 6 h 7136652"/>
              <a:gd name="connsiteX3" fmla="*/ 2447135 w 3671134"/>
              <a:gd name="connsiteY3" fmla="*/ 6872288 h 7136652"/>
              <a:gd name="connsiteX4" fmla="*/ 2447134 w 3671134"/>
              <a:gd name="connsiteY4" fmla="*/ 6872288 h 7136652"/>
              <a:gd name="connsiteX5" fmla="*/ 2617 w 3671134"/>
              <a:gd name="connsiteY5" fmla="*/ 6896100 h 7136652"/>
              <a:gd name="connsiteX6" fmla="*/ 0 w 3671134"/>
              <a:gd name="connsiteY6" fmla="*/ 0 h 7136652"/>
              <a:gd name="connsiteX0" fmla="*/ 2898 w 3674032"/>
              <a:gd name="connsiteY0" fmla="*/ 0 h 7106038"/>
              <a:gd name="connsiteX1" fmla="*/ 3674032 w 3674032"/>
              <a:gd name="connsiteY1" fmla="*/ 0 h 7106038"/>
              <a:gd name="connsiteX2" fmla="*/ 3674032 w 3674032"/>
              <a:gd name="connsiteY2" fmla="*/ 6 h 7106038"/>
              <a:gd name="connsiteX3" fmla="*/ 2450033 w 3674032"/>
              <a:gd name="connsiteY3" fmla="*/ 6872288 h 7106038"/>
              <a:gd name="connsiteX4" fmla="*/ 2450032 w 3674032"/>
              <a:gd name="connsiteY4" fmla="*/ 6872288 h 7106038"/>
              <a:gd name="connsiteX5" fmla="*/ 113 w 3674032"/>
              <a:gd name="connsiteY5" fmla="*/ 6854825 h 7106038"/>
              <a:gd name="connsiteX6" fmla="*/ 2898 w 3674032"/>
              <a:gd name="connsiteY6" fmla="*/ 0 h 7106038"/>
              <a:gd name="connsiteX0" fmla="*/ 2898 w 3674032"/>
              <a:gd name="connsiteY0" fmla="*/ 0 h 7113022"/>
              <a:gd name="connsiteX1" fmla="*/ 3674032 w 3674032"/>
              <a:gd name="connsiteY1" fmla="*/ 0 h 7113022"/>
              <a:gd name="connsiteX2" fmla="*/ 3674032 w 3674032"/>
              <a:gd name="connsiteY2" fmla="*/ 6 h 7113022"/>
              <a:gd name="connsiteX3" fmla="*/ 2450033 w 3674032"/>
              <a:gd name="connsiteY3" fmla="*/ 6872288 h 7113022"/>
              <a:gd name="connsiteX4" fmla="*/ 2450032 w 3674032"/>
              <a:gd name="connsiteY4" fmla="*/ 6872288 h 7113022"/>
              <a:gd name="connsiteX5" fmla="*/ 112 w 3674032"/>
              <a:gd name="connsiteY5" fmla="*/ 6864350 h 7113022"/>
              <a:gd name="connsiteX6" fmla="*/ 2898 w 3674032"/>
              <a:gd name="connsiteY6" fmla="*/ 0 h 7113022"/>
              <a:gd name="connsiteX0" fmla="*/ 2898 w 3674032"/>
              <a:gd name="connsiteY0" fmla="*/ 0 h 6872288"/>
              <a:gd name="connsiteX1" fmla="*/ 3674032 w 3674032"/>
              <a:gd name="connsiteY1" fmla="*/ 0 h 6872288"/>
              <a:gd name="connsiteX2" fmla="*/ 3674032 w 3674032"/>
              <a:gd name="connsiteY2" fmla="*/ 6 h 6872288"/>
              <a:gd name="connsiteX3" fmla="*/ 2450033 w 3674032"/>
              <a:gd name="connsiteY3" fmla="*/ 6872288 h 6872288"/>
              <a:gd name="connsiteX4" fmla="*/ 2450032 w 3674032"/>
              <a:gd name="connsiteY4" fmla="*/ 6872288 h 6872288"/>
              <a:gd name="connsiteX5" fmla="*/ 112 w 3674032"/>
              <a:gd name="connsiteY5" fmla="*/ 6864350 h 6872288"/>
              <a:gd name="connsiteX6" fmla="*/ 2898 w 3674032"/>
              <a:gd name="connsiteY6" fmla="*/ 0 h 6872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74032" h="6872288">
                <a:moveTo>
                  <a:pt x="2898" y="0"/>
                </a:moveTo>
                <a:lnTo>
                  <a:pt x="3674032" y="0"/>
                </a:lnTo>
                <a:lnTo>
                  <a:pt x="3674032" y="6"/>
                </a:lnTo>
                <a:lnTo>
                  <a:pt x="2450033" y="6872288"/>
                </a:lnTo>
                <a:lnTo>
                  <a:pt x="2450032" y="6872288"/>
                </a:lnTo>
                <a:lnTo>
                  <a:pt x="112" y="6864350"/>
                </a:lnTo>
                <a:cubicBezTo>
                  <a:pt x="-760" y="5127625"/>
                  <a:pt x="3770" y="1736725"/>
                  <a:pt x="2898" y="0"/>
                </a:cubicBezTo>
                <a:close/>
              </a:path>
            </a:pathLst>
          </a:custGeom>
          <a:solidFill>
            <a:schemeClr val="accent1">
              <a:alpha val="32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1" name="Textplatzhalter 30">
            <a:extLst>
              <a:ext uri="{FF2B5EF4-FFF2-40B4-BE49-F238E27FC236}">
                <a16:creationId xmlns:a16="http://schemas.microsoft.com/office/drawing/2014/main" id="{6648EEAE-DE3B-420C-B2DE-93ED16F8CCC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231904" y="-1"/>
            <a:ext cx="2160000" cy="2780617"/>
          </a:xfrm>
          <a:prstGeom prst="rect">
            <a:avLst/>
          </a:prstGeom>
          <a:solidFill>
            <a:schemeClr val="accent1">
              <a:alpha val="20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2" name="Textplatzhalter 31">
            <a:extLst>
              <a:ext uri="{FF2B5EF4-FFF2-40B4-BE49-F238E27FC236}">
                <a16:creationId xmlns:a16="http://schemas.microsoft.com/office/drawing/2014/main" id="{B9155CBF-0CAF-42E3-AC21-F9E23BCBC6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231904" y="-3"/>
            <a:ext cx="1440000" cy="2780619"/>
          </a:xfrm>
          <a:prstGeom prst="rect">
            <a:avLst/>
          </a:prstGeom>
          <a:solidFill>
            <a:schemeClr val="accent1">
              <a:alpha val="46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3" name="Textplatzhalter 32">
            <a:extLst>
              <a:ext uri="{FF2B5EF4-FFF2-40B4-BE49-F238E27FC236}">
                <a16:creationId xmlns:a16="http://schemas.microsoft.com/office/drawing/2014/main" id="{AB46E5C9-636A-43DE-AB46-BD39B87BBFB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232064" y="-1"/>
            <a:ext cx="1440000" cy="2780618"/>
          </a:xfrm>
          <a:custGeom>
            <a:avLst/>
            <a:gdLst>
              <a:gd name="connsiteX0" fmla="*/ 0 w 2598738"/>
              <a:gd name="connsiteY0" fmla="*/ 0 h 6872288"/>
              <a:gd name="connsiteX1" fmla="*/ 2598738 w 2598738"/>
              <a:gd name="connsiteY1" fmla="*/ 0 h 6872288"/>
              <a:gd name="connsiteX2" fmla="*/ 2598738 w 2598738"/>
              <a:gd name="connsiteY2" fmla="*/ 42888 h 6872288"/>
              <a:gd name="connsiteX3" fmla="*/ 3566 w 2598738"/>
              <a:gd name="connsiteY3" fmla="*/ 6872288 h 6872288"/>
              <a:gd name="connsiteX4" fmla="*/ 0 w 2598738"/>
              <a:gd name="connsiteY4" fmla="*/ 6872288 h 6872288"/>
              <a:gd name="connsiteX0" fmla="*/ 0 w 2598738"/>
              <a:gd name="connsiteY0" fmla="*/ 0 h 6872288"/>
              <a:gd name="connsiteX1" fmla="*/ 2598738 w 2598738"/>
              <a:gd name="connsiteY1" fmla="*/ 0 h 6872288"/>
              <a:gd name="connsiteX2" fmla="*/ 3566 w 2598738"/>
              <a:gd name="connsiteY2" fmla="*/ 6872288 h 6872288"/>
              <a:gd name="connsiteX3" fmla="*/ 0 w 2598738"/>
              <a:gd name="connsiteY3" fmla="*/ 6872288 h 6872288"/>
              <a:gd name="connsiteX4" fmla="*/ 0 w 2598738"/>
              <a:gd name="connsiteY4" fmla="*/ 0 h 6872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98738" h="6872288">
                <a:moveTo>
                  <a:pt x="0" y="0"/>
                </a:moveTo>
                <a:lnTo>
                  <a:pt x="2598738" y="0"/>
                </a:lnTo>
                <a:lnTo>
                  <a:pt x="3566" y="6872288"/>
                </a:lnTo>
                <a:lnTo>
                  <a:pt x="0" y="687228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6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3136FB6-2459-40BA-89FC-1C0C4A085B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07368" y="4002982"/>
            <a:ext cx="3168000" cy="1584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50B90DF4-2122-40A6-B0D7-CFBAA91F4F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02982"/>
            <a:ext cx="3168000" cy="1584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5B50EB4E-71BC-49D0-A120-31E1C616C7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616280" y="4002982"/>
            <a:ext cx="3168000" cy="1584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FC14F9F6-F721-4417-90F7-08AB8D5DF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348" y="3498946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85674" y="85465"/>
                </a:moveTo>
                <a:cubicBezTo>
                  <a:pt x="181593" y="93712"/>
                  <a:pt x="174648" y="102220"/>
                  <a:pt x="164838" y="110989"/>
                </a:cubicBezTo>
                <a:cubicBezTo>
                  <a:pt x="155028" y="119757"/>
                  <a:pt x="143568" y="127223"/>
                  <a:pt x="130459" y="133387"/>
                </a:cubicBezTo>
                <a:lnTo>
                  <a:pt x="130459" y="156046"/>
                </a:lnTo>
                <a:cubicBezTo>
                  <a:pt x="137751" y="153355"/>
                  <a:pt x="145977" y="149318"/>
                  <a:pt x="155136" y="143935"/>
                </a:cubicBezTo>
                <a:cubicBezTo>
                  <a:pt x="164295" y="138553"/>
                  <a:pt x="171696" y="133170"/>
                  <a:pt x="177339" y="127787"/>
                </a:cubicBezTo>
                <a:lnTo>
                  <a:pt x="177339" y="277155"/>
                </a:lnTo>
                <a:lnTo>
                  <a:pt x="200780" y="277155"/>
                </a:lnTo>
                <a:lnTo>
                  <a:pt x="200780" y="85465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3F2101C-1187-435C-8716-158E07140A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844" y="3498946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5907" y="85465"/>
                </a:moveTo>
                <a:cubicBezTo>
                  <a:pt x="157763" y="85465"/>
                  <a:pt x="143308" y="90174"/>
                  <a:pt x="132542" y="99594"/>
                </a:cubicBezTo>
                <a:cubicBezTo>
                  <a:pt x="121777" y="109013"/>
                  <a:pt x="115570" y="122709"/>
                  <a:pt x="113920" y="140680"/>
                </a:cubicBezTo>
                <a:lnTo>
                  <a:pt x="138012" y="143154"/>
                </a:lnTo>
                <a:cubicBezTo>
                  <a:pt x="138099" y="131173"/>
                  <a:pt x="141528" y="121797"/>
                  <a:pt x="148300" y="115025"/>
                </a:cubicBezTo>
                <a:cubicBezTo>
                  <a:pt x="155071" y="108254"/>
                  <a:pt x="164100" y="104868"/>
                  <a:pt x="175386" y="104868"/>
                </a:cubicBezTo>
                <a:cubicBezTo>
                  <a:pt x="186065" y="104868"/>
                  <a:pt x="194725" y="108058"/>
                  <a:pt x="201366" y="114439"/>
                </a:cubicBezTo>
                <a:cubicBezTo>
                  <a:pt x="208008" y="120820"/>
                  <a:pt x="211328" y="128656"/>
                  <a:pt x="211328" y="137945"/>
                </a:cubicBezTo>
                <a:cubicBezTo>
                  <a:pt x="211328" y="146800"/>
                  <a:pt x="207682" y="156198"/>
                  <a:pt x="200389" y="166139"/>
                </a:cubicBezTo>
                <a:cubicBezTo>
                  <a:pt x="193097" y="176079"/>
                  <a:pt x="179076" y="189557"/>
                  <a:pt x="158327" y="206573"/>
                </a:cubicBezTo>
                <a:cubicBezTo>
                  <a:pt x="144957" y="217512"/>
                  <a:pt x="134735" y="227149"/>
                  <a:pt x="127659" y="235483"/>
                </a:cubicBezTo>
                <a:cubicBezTo>
                  <a:pt x="120583" y="243818"/>
                  <a:pt x="115440" y="252282"/>
                  <a:pt x="112227" y="260877"/>
                </a:cubicBezTo>
                <a:cubicBezTo>
                  <a:pt x="110231" y="266086"/>
                  <a:pt x="109319" y="271512"/>
                  <a:pt x="109493" y="277155"/>
                </a:cubicBezTo>
                <a:lnTo>
                  <a:pt x="235680" y="277155"/>
                </a:lnTo>
                <a:lnTo>
                  <a:pt x="235680" y="254626"/>
                </a:lnTo>
                <a:lnTo>
                  <a:pt x="142049" y="254626"/>
                </a:lnTo>
                <a:cubicBezTo>
                  <a:pt x="144653" y="250372"/>
                  <a:pt x="147952" y="246140"/>
                  <a:pt x="151946" y="241929"/>
                </a:cubicBezTo>
                <a:cubicBezTo>
                  <a:pt x="155939" y="237719"/>
                  <a:pt x="164968" y="229710"/>
                  <a:pt x="179033" y="217903"/>
                </a:cubicBezTo>
                <a:cubicBezTo>
                  <a:pt x="195875" y="203665"/>
                  <a:pt x="207921" y="192466"/>
                  <a:pt x="215170" y="184305"/>
                </a:cubicBezTo>
                <a:cubicBezTo>
                  <a:pt x="222419" y="176144"/>
                  <a:pt x="227606" y="168374"/>
                  <a:pt x="230732" y="160995"/>
                </a:cubicBezTo>
                <a:cubicBezTo>
                  <a:pt x="233857" y="153615"/>
                  <a:pt x="235420" y="146106"/>
                  <a:pt x="235420" y="138466"/>
                </a:cubicBezTo>
                <a:cubicBezTo>
                  <a:pt x="235420" y="123447"/>
                  <a:pt x="230081" y="110858"/>
                  <a:pt x="219402" y="100701"/>
                </a:cubicBezTo>
                <a:cubicBezTo>
                  <a:pt x="208724" y="90543"/>
                  <a:pt x="194225" y="85465"/>
                  <a:pt x="175907" y="8546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3C0D92AB-B8D7-423D-BC1D-38E947EFF2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616280" y="3498926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2371" y="85485"/>
                </a:moveTo>
                <a:cubicBezTo>
                  <a:pt x="157265" y="85485"/>
                  <a:pt x="144633" y="89804"/>
                  <a:pt x="134476" y="98442"/>
                </a:cubicBezTo>
                <a:cubicBezTo>
                  <a:pt x="124318" y="107080"/>
                  <a:pt x="117807" y="119256"/>
                  <a:pt x="114942" y="134970"/>
                </a:cubicBezTo>
                <a:lnTo>
                  <a:pt x="138382" y="139137"/>
                </a:lnTo>
                <a:cubicBezTo>
                  <a:pt x="140119" y="127677"/>
                  <a:pt x="144025" y="119082"/>
                  <a:pt x="150102" y="113353"/>
                </a:cubicBezTo>
                <a:cubicBezTo>
                  <a:pt x="156180" y="107623"/>
                  <a:pt x="163776" y="104758"/>
                  <a:pt x="172892" y="104758"/>
                </a:cubicBezTo>
                <a:cubicBezTo>
                  <a:pt x="182094" y="104758"/>
                  <a:pt x="189604" y="107579"/>
                  <a:pt x="195421" y="113222"/>
                </a:cubicBezTo>
                <a:cubicBezTo>
                  <a:pt x="201237" y="118865"/>
                  <a:pt x="204146" y="125984"/>
                  <a:pt x="204146" y="134579"/>
                </a:cubicBezTo>
                <a:cubicBezTo>
                  <a:pt x="204146" y="145431"/>
                  <a:pt x="200152" y="153462"/>
                  <a:pt x="192165" y="158671"/>
                </a:cubicBezTo>
                <a:cubicBezTo>
                  <a:pt x="184178" y="163880"/>
                  <a:pt x="175192" y="166484"/>
                  <a:pt x="165209" y="166484"/>
                </a:cubicBezTo>
                <a:cubicBezTo>
                  <a:pt x="164254" y="166484"/>
                  <a:pt x="162995" y="166397"/>
                  <a:pt x="161432" y="166224"/>
                </a:cubicBezTo>
                <a:lnTo>
                  <a:pt x="158828" y="186799"/>
                </a:lnTo>
                <a:cubicBezTo>
                  <a:pt x="165426" y="185063"/>
                  <a:pt x="170938" y="184195"/>
                  <a:pt x="175366" y="184195"/>
                </a:cubicBezTo>
                <a:cubicBezTo>
                  <a:pt x="186218" y="184195"/>
                  <a:pt x="195160" y="187689"/>
                  <a:pt x="202192" y="194678"/>
                </a:cubicBezTo>
                <a:cubicBezTo>
                  <a:pt x="209224" y="201667"/>
                  <a:pt x="212741" y="210544"/>
                  <a:pt x="212741" y="221309"/>
                </a:cubicBezTo>
                <a:cubicBezTo>
                  <a:pt x="212741" y="232595"/>
                  <a:pt x="208942" y="242058"/>
                  <a:pt x="201346" y="249698"/>
                </a:cubicBezTo>
                <a:cubicBezTo>
                  <a:pt x="193749" y="257338"/>
                  <a:pt x="184438" y="261158"/>
                  <a:pt x="173413" y="261158"/>
                </a:cubicBezTo>
                <a:cubicBezTo>
                  <a:pt x="164123" y="261158"/>
                  <a:pt x="156245" y="258227"/>
                  <a:pt x="149777" y="252367"/>
                </a:cubicBezTo>
                <a:cubicBezTo>
                  <a:pt x="143309" y="246507"/>
                  <a:pt x="138730" y="236936"/>
                  <a:pt x="136038" y="223653"/>
                </a:cubicBezTo>
                <a:lnTo>
                  <a:pt x="112598" y="226778"/>
                </a:lnTo>
                <a:cubicBezTo>
                  <a:pt x="114161" y="242666"/>
                  <a:pt x="120476" y="255601"/>
                  <a:pt x="131546" y="265585"/>
                </a:cubicBezTo>
                <a:cubicBezTo>
                  <a:pt x="142615" y="275569"/>
                  <a:pt x="156527" y="280561"/>
                  <a:pt x="173282" y="280561"/>
                </a:cubicBezTo>
                <a:cubicBezTo>
                  <a:pt x="191861" y="280561"/>
                  <a:pt x="207228" y="274766"/>
                  <a:pt x="219382" y="263176"/>
                </a:cubicBezTo>
                <a:cubicBezTo>
                  <a:pt x="231536" y="251586"/>
                  <a:pt x="237613" y="237457"/>
                  <a:pt x="237613" y="220788"/>
                </a:cubicBezTo>
                <a:cubicBezTo>
                  <a:pt x="237613" y="208460"/>
                  <a:pt x="234488" y="198194"/>
                  <a:pt x="228237" y="189990"/>
                </a:cubicBezTo>
                <a:cubicBezTo>
                  <a:pt x="221986" y="181786"/>
                  <a:pt x="213218" y="176381"/>
                  <a:pt x="201932" y="173777"/>
                </a:cubicBezTo>
                <a:cubicBezTo>
                  <a:pt x="210614" y="169783"/>
                  <a:pt x="217168" y="164401"/>
                  <a:pt x="221596" y="157629"/>
                </a:cubicBezTo>
                <a:cubicBezTo>
                  <a:pt x="226023" y="150857"/>
                  <a:pt x="228237" y="143348"/>
                  <a:pt x="228237" y="135100"/>
                </a:cubicBezTo>
                <a:cubicBezTo>
                  <a:pt x="228237" y="126418"/>
                  <a:pt x="225915" y="118214"/>
                  <a:pt x="221270" y="110488"/>
                </a:cubicBezTo>
                <a:cubicBezTo>
                  <a:pt x="216626" y="102761"/>
                  <a:pt x="209919" y="96662"/>
                  <a:pt x="201151" y="92191"/>
                </a:cubicBezTo>
                <a:cubicBezTo>
                  <a:pt x="192382" y="87720"/>
                  <a:pt x="182789" y="85485"/>
                  <a:pt x="172371" y="8548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7E980EF-DF98-4285-A3F6-3F0880748DE8}"/>
              </a:ext>
            </a:extLst>
          </p:cNvPr>
          <p:cNvSpPr/>
          <p:nvPr userDrawn="1"/>
        </p:nvSpPr>
        <p:spPr bwMode="gray">
          <a:xfrm>
            <a:off x="0" y="-1"/>
            <a:ext cx="5256000" cy="27806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noProof="0"/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FBBF9BBD-ACB5-4A6A-9848-F76231A756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64700"/>
            <a:ext cx="4536504" cy="1619964"/>
          </a:xfrm>
        </p:spPr>
        <p:txBody>
          <a:bodyPr anchor="b" anchorCtr="0"/>
          <a:lstStyle>
            <a:lvl1pPr>
              <a:lnSpc>
                <a:spcPct val="100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he title of the presentation</a:t>
            </a:r>
          </a:p>
        </p:txBody>
      </p:sp>
      <p:sp>
        <p:nvSpPr>
          <p:cNvPr id="33" name="Textplatzhalter 9">
            <a:extLst>
              <a:ext uri="{FF2B5EF4-FFF2-40B4-BE49-F238E27FC236}">
                <a16:creationId xmlns:a16="http://schemas.microsoft.com/office/drawing/2014/main" id="{2E7FA3AE-FF41-47F4-B56F-12ED173F59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07368" y="404664"/>
            <a:ext cx="215900" cy="216000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515656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agenda 6 poi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Bildplatzhalter 26">
            <a:extLst>
              <a:ext uri="{FF2B5EF4-FFF2-40B4-BE49-F238E27FC236}">
                <a16:creationId xmlns:a16="http://schemas.microsoft.com/office/drawing/2014/main" id="{AF84E948-A4F0-4D15-99F3-7C277E43064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5256000" y="0"/>
            <a:ext cx="6936001" cy="2780616"/>
          </a:xfrm>
          <a:solidFill>
            <a:schemeClr val="accent3"/>
          </a:solidFill>
        </p:spPr>
        <p:txBody>
          <a:bodyPr tIns="1584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Optional: To add a picture click the icon</a:t>
            </a:r>
          </a:p>
        </p:txBody>
      </p:sp>
      <p:sp>
        <p:nvSpPr>
          <p:cNvPr id="52" name="Textplatzhalter 28">
            <a:extLst>
              <a:ext uri="{FF2B5EF4-FFF2-40B4-BE49-F238E27FC236}">
                <a16:creationId xmlns:a16="http://schemas.microsoft.com/office/drawing/2014/main" id="{FE260A9A-A912-471B-8CB7-8BDA8EF8699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231904" y="-1"/>
            <a:ext cx="2159370" cy="2780617"/>
          </a:xfrm>
          <a:custGeom>
            <a:avLst/>
            <a:gdLst>
              <a:gd name="connsiteX0" fmla="*/ 0 w 1224000"/>
              <a:gd name="connsiteY0" fmla="*/ 0 h 6872288"/>
              <a:gd name="connsiteX1" fmla="*/ 1224000 w 1224000"/>
              <a:gd name="connsiteY1" fmla="*/ 0 h 6872288"/>
              <a:gd name="connsiteX2" fmla="*/ 1224000 w 1224000"/>
              <a:gd name="connsiteY2" fmla="*/ 6 h 6872288"/>
              <a:gd name="connsiteX3" fmla="*/ 1 w 1224000"/>
              <a:gd name="connsiteY3" fmla="*/ 6872288 h 6872288"/>
              <a:gd name="connsiteX4" fmla="*/ 0 w 1224000"/>
              <a:gd name="connsiteY4" fmla="*/ 6872288 h 6872288"/>
              <a:gd name="connsiteX0" fmla="*/ 2444517 w 3668517"/>
              <a:gd name="connsiteY0" fmla="*/ 0 h 7053344"/>
              <a:gd name="connsiteX1" fmla="*/ 3668517 w 3668517"/>
              <a:gd name="connsiteY1" fmla="*/ 0 h 7053344"/>
              <a:gd name="connsiteX2" fmla="*/ 3668517 w 3668517"/>
              <a:gd name="connsiteY2" fmla="*/ 6 h 7053344"/>
              <a:gd name="connsiteX3" fmla="*/ 2444518 w 3668517"/>
              <a:gd name="connsiteY3" fmla="*/ 6872288 h 7053344"/>
              <a:gd name="connsiteX4" fmla="*/ 2444517 w 3668517"/>
              <a:gd name="connsiteY4" fmla="*/ 6872288 h 7053344"/>
              <a:gd name="connsiteX5" fmla="*/ 0 w 3668517"/>
              <a:gd name="connsiteY5" fmla="*/ 6896100 h 7053344"/>
              <a:gd name="connsiteX6" fmla="*/ 2444517 w 3668517"/>
              <a:gd name="connsiteY6" fmla="*/ 0 h 7053344"/>
              <a:gd name="connsiteX0" fmla="*/ 0 w 3671134"/>
              <a:gd name="connsiteY0" fmla="*/ 0 h 7053344"/>
              <a:gd name="connsiteX1" fmla="*/ 3671134 w 3671134"/>
              <a:gd name="connsiteY1" fmla="*/ 0 h 7053344"/>
              <a:gd name="connsiteX2" fmla="*/ 3671134 w 3671134"/>
              <a:gd name="connsiteY2" fmla="*/ 6 h 7053344"/>
              <a:gd name="connsiteX3" fmla="*/ 2447135 w 3671134"/>
              <a:gd name="connsiteY3" fmla="*/ 6872288 h 7053344"/>
              <a:gd name="connsiteX4" fmla="*/ 2447134 w 3671134"/>
              <a:gd name="connsiteY4" fmla="*/ 6872288 h 7053344"/>
              <a:gd name="connsiteX5" fmla="*/ 2617 w 3671134"/>
              <a:gd name="connsiteY5" fmla="*/ 6896100 h 7053344"/>
              <a:gd name="connsiteX6" fmla="*/ 0 w 3671134"/>
              <a:gd name="connsiteY6" fmla="*/ 0 h 7053344"/>
              <a:gd name="connsiteX0" fmla="*/ 0 w 3671134"/>
              <a:gd name="connsiteY0" fmla="*/ 0 h 7136652"/>
              <a:gd name="connsiteX1" fmla="*/ 3671134 w 3671134"/>
              <a:gd name="connsiteY1" fmla="*/ 0 h 7136652"/>
              <a:gd name="connsiteX2" fmla="*/ 3671134 w 3671134"/>
              <a:gd name="connsiteY2" fmla="*/ 6 h 7136652"/>
              <a:gd name="connsiteX3" fmla="*/ 2447135 w 3671134"/>
              <a:gd name="connsiteY3" fmla="*/ 6872288 h 7136652"/>
              <a:gd name="connsiteX4" fmla="*/ 2447134 w 3671134"/>
              <a:gd name="connsiteY4" fmla="*/ 6872288 h 7136652"/>
              <a:gd name="connsiteX5" fmla="*/ 2617 w 3671134"/>
              <a:gd name="connsiteY5" fmla="*/ 6896100 h 7136652"/>
              <a:gd name="connsiteX6" fmla="*/ 0 w 3671134"/>
              <a:gd name="connsiteY6" fmla="*/ 0 h 7136652"/>
              <a:gd name="connsiteX0" fmla="*/ 2898 w 3674032"/>
              <a:gd name="connsiteY0" fmla="*/ 0 h 7106038"/>
              <a:gd name="connsiteX1" fmla="*/ 3674032 w 3674032"/>
              <a:gd name="connsiteY1" fmla="*/ 0 h 7106038"/>
              <a:gd name="connsiteX2" fmla="*/ 3674032 w 3674032"/>
              <a:gd name="connsiteY2" fmla="*/ 6 h 7106038"/>
              <a:gd name="connsiteX3" fmla="*/ 2450033 w 3674032"/>
              <a:gd name="connsiteY3" fmla="*/ 6872288 h 7106038"/>
              <a:gd name="connsiteX4" fmla="*/ 2450032 w 3674032"/>
              <a:gd name="connsiteY4" fmla="*/ 6872288 h 7106038"/>
              <a:gd name="connsiteX5" fmla="*/ 113 w 3674032"/>
              <a:gd name="connsiteY5" fmla="*/ 6854825 h 7106038"/>
              <a:gd name="connsiteX6" fmla="*/ 2898 w 3674032"/>
              <a:gd name="connsiteY6" fmla="*/ 0 h 7106038"/>
              <a:gd name="connsiteX0" fmla="*/ 2898 w 3674032"/>
              <a:gd name="connsiteY0" fmla="*/ 0 h 7113022"/>
              <a:gd name="connsiteX1" fmla="*/ 3674032 w 3674032"/>
              <a:gd name="connsiteY1" fmla="*/ 0 h 7113022"/>
              <a:gd name="connsiteX2" fmla="*/ 3674032 w 3674032"/>
              <a:gd name="connsiteY2" fmla="*/ 6 h 7113022"/>
              <a:gd name="connsiteX3" fmla="*/ 2450033 w 3674032"/>
              <a:gd name="connsiteY3" fmla="*/ 6872288 h 7113022"/>
              <a:gd name="connsiteX4" fmla="*/ 2450032 w 3674032"/>
              <a:gd name="connsiteY4" fmla="*/ 6872288 h 7113022"/>
              <a:gd name="connsiteX5" fmla="*/ 112 w 3674032"/>
              <a:gd name="connsiteY5" fmla="*/ 6864350 h 7113022"/>
              <a:gd name="connsiteX6" fmla="*/ 2898 w 3674032"/>
              <a:gd name="connsiteY6" fmla="*/ 0 h 7113022"/>
              <a:gd name="connsiteX0" fmla="*/ 2898 w 3674032"/>
              <a:gd name="connsiteY0" fmla="*/ 0 h 6872288"/>
              <a:gd name="connsiteX1" fmla="*/ 3674032 w 3674032"/>
              <a:gd name="connsiteY1" fmla="*/ 0 h 6872288"/>
              <a:gd name="connsiteX2" fmla="*/ 3674032 w 3674032"/>
              <a:gd name="connsiteY2" fmla="*/ 6 h 6872288"/>
              <a:gd name="connsiteX3" fmla="*/ 2450033 w 3674032"/>
              <a:gd name="connsiteY3" fmla="*/ 6872288 h 6872288"/>
              <a:gd name="connsiteX4" fmla="*/ 2450032 w 3674032"/>
              <a:gd name="connsiteY4" fmla="*/ 6872288 h 6872288"/>
              <a:gd name="connsiteX5" fmla="*/ 112 w 3674032"/>
              <a:gd name="connsiteY5" fmla="*/ 6864350 h 6872288"/>
              <a:gd name="connsiteX6" fmla="*/ 2898 w 3674032"/>
              <a:gd name="connsiteY6" fmla="*/ 0 h 6872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74032" h="6872288">
                <a:moveTo>
                  <a:pt x="2898" y="0"/>
                </a:moveTo>
                <a:lnTo>
                  <a:pt x="3674032" y="0"/>
                </a:lnTo>
                <a:lnTo>
                  <a:pt x="3674032" y="6"/>
                </a:lnTo>
                <a:lnTo>
                  <a:pt x="2450033" y="6872288"/>
                </a:lnTo>
                <a:lnTo>
                  <a:pt x="2450032" y="6872288"/>
                </a:lnTo>
                <a:lnTo>
                  <a:pt x="112" y="6864350"/>
                </a:lnTo>
                <a:cubicBezTo>
                  <a:pt x="-760" y="5127625"/>
                  <a:pt x="3770" y="1736725"/>
                  <a:pt x="2898" y="0"/>
                </a:cubicBezTo>
                <a:close/>
              </a:path>
            </a:pathLst>
          </a:custGeom>
          <a:solidFill>
            <a:schemeClr val="accent1">
              <a:alpha val="32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3" name="Textplatzhalter 30">
            <a:extLst>
              <a:ext uri="{FF2B5EF4-FFF2-40B4-BE49-F238E27FC236}">
                <a16:creationId xmlns:a16="http://schemas.microsoft.com/office/drawing/2014/main" id="{523C2387-37A9-49ED-9F11-8B43DFC080A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231904" y="-1"/>
            <a:ext cx="2160000" cy="2780617"/>
          </a:xfrm>
          <a:prstGeom prst="rect">
            <a:avLst/>
          </a:prstGeom>
          <a:solidFill>
            <a:schemeClr val="accent1">
              <a:alpha val="20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1956EDC8-8E27-4364-9986-F8D3E285318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231904" y="-3"/>
            <a:ext cx="1440000" cy="2780619"/>
          </a:xfrm>
          <a:prstGeom prst="rect">
            <a:avLst/>
          </a:prstGeom>
          <a:solidFill>
            <a:schemeClr val="accent1">
              <a:alpha val="46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5" name="Textplatzhalter 32">
            <a:extLst>
              <a:ext uri="{FF2B5EF4-FFF2-40B4-BE49-F238E27FC236}">
                <a16:creationId xmlns:a16="http://schemas.microsoft.com/office/drawing/2014/main" id="{6E46DEAF-EAF5-472E-81D7-CCF04AFFED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232064" y="-1"/>
            <a:ext cx="1440000" cy="2780618"/>
          </a:xfrm>
          <a:custGeom>
            <a:avLst/>
            <a:gdLst>
              <a:gd name="connsiteX0" fmla="*/ 0 w 2598738"/>
              <a:gd name="connsiteY0" fmla="*/ 0 h 6872288"/>
              <a:gd name="connsiteX1" fmla="*/ 2598738 w 2598738"/>
              <a:gd name="connsiteY1" fmla="*/ 0 h 6872288"/>
              <a:gd name="connsiteX2" fmla="*/ 2598738 w 2598738"/>
              <a:gd name="connsiteY2" fmla="*/ 42888 h 6872288"/>
              <a:gd name="connsiteX3" fmla="*/ 3566 w 2598738"/>
              <a:gd name="connsiteY3" fmla="*/ 6872288 h 6872288"/>
              <a:gd name="connsiteX4" fmla="*/ 0 w 2598738"/>
              <a:gd name="connsiteY4" fmla="*/ 6872288 h 6872288"/>
              <a:gd name="connsiteX0" fmla="*/ 0 w 2598738"/>
              <a:gd name="connsiteY0" fmla="*/ 0 h 6872288"/>
              <a:gd name="connsiteX1" fmla="*/ 2598738 w 2598738"/>
              <a:gd name="connsiteY1" fmla="*/ 0 h 6872288"/>
              <a:gd name="connsiteX2" fmla="*/ 3566 w 2598738"/>
              <a:gd name="connsiteY2" fmla="*/ 6872288 h 6872288"/>
              <a:gd name="connsiteX3" fmla="*/ 0 w 2598738"/>
              <a:gd name="connsiteY3" fmla="*/ 6872288 h 6872288"/>
              <a:gd name="connsiteX4" fmla="*/ 0 w 2598738"/>
              <a:gd name="connsiteY4" fmla="*/ 0 h 6872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98738" h="6872288">
                <a:moveTo>
                  <a:pt x="0" y="0"/>
                </a:moveTo>
                <a:lnTo>
                  <a:pt x="2598738" y="0"/>
                </a:lnTo>
                <a:lnTo>
                  <a:pt x="3566" y="6872288"/>
                </a:lnTo>
                <a:lnTo>
                  <a:pt x="0" y="687228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6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6E855957-DE44-4CDE-9FCD-D5DF18FABC56}"/>
              </a:ext>
            </a:extLst>
          </p:cNvPr>
          <p:cNvSpPr/>
          <p:nvPr userDrawn="1"/>
        </p:nvSpPr>
        <p:spPr bwMode="gray">
          <a:xfrm>
            <a:off x="0" y="-1"/>
            <a:ext cx="5256000" cy="27806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noProof="0"/>
          </a:p>
        </p:txBody>
      </p:sp>
      <p:sp>
        <p:nvSpPr>
          <p:cNvPr id="36" name="Textplatzhalter 7">
            <a:extLst>
              <a:ext uri="{FF2B5EF4-FFF2-40B4-BE49-F238E27FC236}">
                <a16:creationId xmlns:a16="http://schemas.microsoft.com/office/drawing/2014/main" id="{4E098FEE-0A30-4982-8FCE-A7561D2709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07368" y="3573016"/>
            <a:ext cx="3168000" cy="93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37" name="Textplatzhalter 7">
            <a:extLst>
              <a:ext uri="{FF2B5EF4-FFF2-40B4-BE49-F238E27FC236}">
                <a16:creationId xmlns:a16="http://schemas.microsoft.com/office/drawing/2014/main" id="{2696D294-12A3-442F-8CC4-9E655211DA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3573016"/>
            <a:ext cx="3168000" cy="93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38" name="Textplatzhalter 7">
            <a:extLst>
              <a:ext uri="{FF2B5EF4-FFF2-40B4-BE49-F238E27FC236}">
                <a16:creationId xmlns:a16="http://schemas.microsoft.com/office/drawing/2014/main" id="{391F01F1-7954-4F1E-AA98-3B544B676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616280" y="3573016"/>
            <a:ext cx="3168000" cy="93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248A1BF3-2933-42DE-9A40-CCAE572913D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07368" y="5373320"/>
            <a:ext cx="3168000" cy="93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3" name="Textplatzhalter 7">
            <a:extLst>
              <a:ext uri="{FF2B5EF4-FFF2-40B4-BE49-F238E27FC236}">
                <a16:creationId xmlns:a16="http://schemas.microsoft.com/office/drawing/2014/main" id="{8A08FBD2-8E3F-4E2F-81F1-0369A5415F4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511824" y="5373320"/>
            <a:ext cx="3168000" cy="93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4" name="Textplatzhalter 7">
            <a:extLst>
              <a:ext uri="{FF2B5EF4-FFF2-40B4-BE49-F238E27FC236}">
                <a16:creationId xmlns:a16="http://schemas.microsoft.com/office/drawing/2014/main" id="{2128C997-D8DA-4C52-9075-CE52DA35ED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8616280" y="5373320"/>
            <a:ext cx="3168000" cy="93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B3563F5-1A71-48CE-8247-FC64946F6D3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07369" y="4869224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87647" y="123901"/>
                </a:moveTo>
                <a:lnTo>
                  <a:pt x="187647" y="209979"/>
                </a:lnTo>
                <a:lnTo>
                  <a:pt x="127874" y="209979"/>
                </a:lnTo>
                <a:close/>
                <a:moveTo>
                  <a:pt x="191945" y="86266"/>
                </a:moveTo>
                <a:lnTo>
                  <a:pt x="104824" y="209979"/>
                </a:lnTo>
                <a:lnTo>
                  <a:pt x="104824" y="231466"/>
                </a:lnTo>
                <a:lnTo>
                  <a:pt x="187647" y="231466"/>
                </a:lnTo>
                <a:lnTo>
                  <a:pt x="187647" y="277175"/>
                </a:lnTo>
                <a:lnTo>
                  <a:pt x="211088" y="277175"/>
                </a:lnTo>
                <a:lnTo>
                  <a:pt x="211088" y="231466"/>
                </a:lnTo>
                <a:lnTo>
                  <a:pt x="236872" y="231466"/>
                </a:lnTo>
                <a:lnTo>
                  <a:pt x="236872" y="209979"/>
                </a:lnTo>
                <a:lnTo>
                  <a:pt x="211088" y="209979"/>
                </a:lnTo>
                <a:lnTo>
                  <a:pt x="211088" y="86266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3E892BF-31D1-47D7-943F-D6B2D1AD89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511824" y="4869264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35127" y="88790"/>
                </a:moveTo>
                <a:lnTo>
                  <a:pt x="116635" y="186850"/>
                </a:lnTo>
                <a:lnTo>
                  <a:pt x="138643" y="189715"/>
                </a:lnTo>
                <a:cubicBezTo>
                  <a:pt x="142116" y="184245"/>
                  <a:pt x="146891" y="179796"/>
                  <a:pt x="152968" y="176367"/>
                </a:cubicBezTo>
                <a:cubicBezTo>
                  <a:pt x="159045" y="172937"/>
                  <a:pt x="165860" y="171223"/>
                  <a:pt x="173413" y="171223"/>
                </a:cubicBezTo>
                <a:cubicBezTo>
                  <a:pt x="185567" y="171223"/>
                  <a:pt x="195399" y="175086"/>
                  <a:pt x="202909" y="182813"/>
                </a:cubicBezTo>
                <a:cubicBezTo>
                  <a:pt x="210418" y="190539"/>
                  <a:pt x="214173" y="201087"/>
                  <a:pt x="214173" y="214457"/>
                </a:cubicBezTo>
                <a:cubicBezTo>
                  <a:pt x="214173" y="228521"/>
                  <a:pt x="210267" y="239808"/>
                  <a:pt x="202453" y="248316"/>
                </a:cubicBezTo>
                <a:cubicBezTo>
                  <a:pt x="194640" y="256824"/>
                  <a:pt x="185090" y="261078"/>
                  <a:pt x="173804" y="261078"/>
                </a:cubicBezTo>
                <a:cubicBezTo>
                  <a:pt x="164427" y="261078"/>
                  <a:pt x="156419" y="258061"/>
                  <a:pt x="149777" y="252027"/>
                </a:cubicBezTo>
                <a:cubicBezTo>
                  <a:pt x="143136" y="245993"/>
                  <a:pt x="138903" y="236986"/>
                  <a:pt x="137080" y="225005"/>
                </a:cubicBezTo>
                <a:lnTo>
                  <a:pt x="112468" y="227089"/>
                </a:lnTo>
                <a:cubicBezTo>
                  <a:pt x="114031" y="243150"/>
                  <a:pt x="120303" y="256042"/>
                  <a:pt x="131285" y="265766"/>
                </a:cubicBezTo>
                <a:cubicBezTo>
                  <a:pt x="142268" y="275489"/>
                  <a:pt x="156440" y="280351"/>
                  <a:pt x="173804" y="280351"/>
                </a:cubicBezTo>
                <a:cubicBezTo>
                  <a:pt x="194987" y="280351"/>
                  <a:pt x="211699" y="272624"/>
                  <a:pt x="223940" y="257171"/>
                </a:cubicBezTo>
                <a:cubicBezTo>
                  <a:pt x="234011" y="244582"/>
                  <a:pt x="239046" y="229650"/>
                  <a:pt x="239046" y="212374"/>
                </a:cubicBezTo>
                <a:cubicBezTo>
                  <a:pt x="239046" y="194229"/>
                  <a:pt x="233316" y="179383"/>
                  <a:pt x="221857" y="167837"/>
                </a:cubicBezTo>
                <a:cubicBezTo>
                  <a:pt x="210397" y="156290"/>
                  <a:pt x="196332" y="150517"/>
                  <a:pt x="179664" y="150517"/>
                </a:cubicBezTo>
                <a:cubicBezTo>
                  <a:pt x="167075" y="150517"/>
                  <a:pt x="155051" y="154510"/>
                  <a:pt x="143592" y="162498"/>
                </a:cubicBezTo>
                <a:lnTo>
                  <a:pt x="153879" y="111189"/>
                </a:lnTo>
                <a:lnTo>
                  <a:pt x="230061" y="111189"/>
                </a:lnTo>
                <a:lnTo>
                  <a:pt x="230061" y="88790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CE645BBE-FA98-499C-8EC9-B62B150467E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616280" y="4869264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6448" y="174037"/>
                </a:moveTo>
                <a:cubicBezTo>
                  <a:pt x="187126" y="174037"/>
                  <a:pt x="195982" y="177836"/>
                  <a:pt x="203014" y="185432"/>
                </a:cubicBezTo>
                <a:cubicBezTo>
                  <a:pt x="210046" y="193028"/>
                  <a:pt x="213562" y="203425"/>
                  <a:pt x="213562" y="216621"/>
                </a:cubicBezTo>
                <a:cubicBezTo>
                  <a:pt x="213562" y="230338"/>
                  <a:pt x="210002" y="241190"/>
                  <a:pt x="202883" y="249177"/>
                </a:cubicBezTo>
                <a:cubicBezTo>
                  <a:pt x="195765" y="257164"/>
                  <a:pt x="187257" y="261158"/>
                  <a:pt x="177359" y="261158"/>
                </a:cubicBezTo>
                <a:cubicBezTo>
                  <a:pt x="170588" y="261158"/>
                  <a:pt x="164120" y="259226"/>
                  <a:pt x="157956" y="255363"/>
                </a:cubicBezTo>
                <a:cubicBezTo>
                  <a:pt x="151792" y="251499"/>
                  <a:pt x="146995" y="245878"/>
                  <a:pt x="143566" y="238499"/>
                </a:cubicBezTo>
                <a:cubicBezTo>
                  <a:pt x="140137" y="231119"/>
                  <a:pt x="138422" y="223392"/>
                  <a:pt x="138422" y="215319"/>
                </a:cubicBezTo>
                <a:cubicBezTo>
                  <a:pt x="138422" y="202991"/>
                  <a:pt x="142112" y="193028"/>
                  <a:pt x="149491" y="185432"/>
                </a:cubicBezTo>
                <a:cubicBezTo>
                  <a:pt x="156871" y="177836"/>
                  <a:pt x="165856" y="174037"/>
                  <a:pt x="176448" y="174037"/>
                </a:cubicBezTo>
                <a:close/>
                <a:moveTo>
                  <a:pt x="179964" y="85485"/>
                </a:moveTo>
                <a:cubicBezTo>
                  <a:pt x="159823" y="85485"/>
                  <a:pt x="143805" y="92777"/>
                  <a:pt x="131911" y="107362"/>
                </a:cubicBezTo>
                <a:cubicBezTo>
                  <a:pt x="118281" y="124118"/>
                  <a:pt x="111466" y="150944"/>
                  <a:pt x="111466" y="187841"/>
                </a:cubicBezTo>
                <a:cubicBezTo>
                  <a:pt x="111466" y="220831"/>
                  <a:pt x="117630" y="244511"/>
                  <a:pt x="129958" y="258879"/>
                </a:cubicBezTo>
                <a:cubicBezTo>
                  <a:pt x="142286" y="273247"/>
                  <a:pt x="158216" y="280431"/>
                  <a:pt x="177750" y="280431"/>
                </a:cubicBezTo>
                <a:cubicBezTo>
                  <a:pt x="189210" y="280431"/>
                  <a:pt x="199454" y="277696"/>
                  <a:pt x="208483" y="272227"/>
                </a:cubicBezTo>
                <a:cubicBezTo>
                  <a:pt x="217512" y="266757"/>
                  <a:pt x="224609" y="258879"/>
                  <a:pt x="229775" y="248591"/>
                </a:cubicBezTo>
                <a:cubicBezTo>
                  <a:pt x="234940" y="238303"/>
                  <a:pt x="237523" y="227169"/>
                  <a:pt x="237523" y="215188"/>
                </a:cubicBezTo>
                <a:cubicBezTo>
                  <a:pt x="237523" y="196957"/>
                  <a:pt x="232032" y="182090"/>
                  <a:pt x="221050" y="170586"/>
                </a:cubicBezTo>
                <a:cubicBezTo>
                  <a:pt x="210068" y="159083"/>
                  <a:pt x="196763" y="153332"/>
                  <a:pt x="181136" y="153332"/>
                </a:cubicBezTo>
                <a:cubicBezTo>
                  <a:pt x="172194" y="153332"/>
                  <a:pt x="163642" y="155415"/>
                  <a:pt x="155482" y="159582"/>
                </a:cubicBezTo>
                <a:cubicBezTo>
                  <a:pt x="147321" y="163750"/>
                  <a:pt x="140419" y="170131"/>
                  <a:pt x="134776" y="178725"/>
                </a:cubicBezTo>
                <a:cubicBezTo>
                  <a:pt x="134950" y="159626"/>
                  <a:pt x="137163" y="144910"/>
                  <a:pt x="141417" y="134579"/>
                </a:cubicBezTo>
                <a:cubicBezTo>
                  <a:pt x="145671" y="124248"/>
                  <a:pt x="151488" y="116391"/>
                  <a:pt x="158868" y="111009"/>
                </a:cubicBezTo>
                <a:cubicBezTo>
                  <a:pt x="164511" y="106841"/>
                  <a:pt x="171065" y="104758"/>
                  <a:pt x="178531" y="104758"/>
                </a:cubicBezTo>
                <a:cubicBezTo>
                  <a:pt x="187821" y="104758"/>
                  <a:pt x="195634" y="108100"/>
                  <a:pt x="201972" y="114785"/>
                </a:cubicBezTo>
                <a:cubicBezTo>
                  <a:pt x="205792" y="118952"/>
                  <a:pt x="208744" y="125637"/>
                  <a:pt x="210827" y="134840"/>
                </a:cubicBezTo>
                <a:lnTo>
                  <a:pt x="234137" y="133017"/>
                </a:lnTo>
                <a:cubicBezTo>
                  <a:pt x="232227" y="118171"/>
                  <a:pt x="226476" y="106538"/>
                  <a:pt x="216883" y="98116"/>
                </a:cubicBezTo>
                <a:cubicBezTo>
                  <a:pt x="207289" y="89695"/>
                  <a:pt x="194983" y="85485"/>
                  <a:pt x="179964" y="8548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49" name="Titel 1">
            <a:extLst>
              <a:ext uri="{FF2B5EF4-FFF2-40B4-BE49-F238E27FC236}">
                <a16:creationId xmlns:a16="http://schemas.microsoft.com/office/drawing/2014/main" id="{23E1E2F0-5E01-4C12-AB4D-D95130DF71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64700"/>
            <a:ext cx="4536504" cy="1619964"/>
          </a:xfrm>
        </p:spPr>
        <p:txBody>
          <a:bodyPr anchor="b" anchorCtr="0"/>
          <a:lstStyle>
            <a:lvl1pPr>
              <a:lnSpc>
                <a:spcPct val="100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he title of the presentation</a:t>
            </a:r>
          </a:p>
        </p:txBody>
      </p:sp>
      <p:sp>
        <p:nvSpPr>
          <p:cNvPr id="56" name="Textplatzhalter 9">
            <a:extLst>
              <a:ext uri="{FF2B5EF4-FFF2-40B4-BE49-F238E27FC236}">
                <a16:creationId xmlns:a16="http://schemas.microsoft.com/office/drawing/2014/main" id="{F4BD268A-CADD-42F2-9EA0-C3762304928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07368" y="404664"/>
            <a:ext cx="215900" cy="216000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CE3FB1D9-3001-4291-8F1A-DB4EC1EE3D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348" y="3068980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85674" y="85465"/>
                </a:moveTo>
                <a:cubicBezTo>
                  <a:pt x="181593" y="93712"/>
                  <a:pt x="174648" y="102220"/>
                  <a:pt x="164838" y="110989"/>
                </a:cubicBezTo>
                <a:cubicBezTo>
                  <a:pt x="155028" y="119757"/>
                  <a:pt x="143568" y="127223"/>
                  <a:pt x="130459" y="133387"/>
                </a:cubicBezTo>
                <a:lnTo>
                  <a:pt x="130459" y="156046"/>
                </a:lnTo>
                <a:cubicBezTo>
                  <a:pt x="137751" y="153355"/>
                  <a:pt x="145977" y="149318"/>
                  <a:pt x="155136" y="143935"/>
                </a:cubicBezTo>
                <a:cubicBezTo>
                  <a:pt x="164295" y="138553"/>
                  <a:pt x="171696" y="133170"/>
                  <a:pt x="177339" y="127787"/>
                </a:cubicBezTo>
                <a:lnTo>
                  <a:pt x="177339" y="277155"/>
                </a:lnTo>
                <a:lnTo>
                  <a:pt x="200780" y="277155"/>
                </a:lnTo>
                <a:lnTo>
                  <a:pt x="200780" y="85465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3" name="Textplatzhalter 31">
            <a:extLst>
              <a:ext uri="{FF2B5EF4-FFF2-40B4-BE49-F238E27FC236}">
                <a16:creationId xmlns:a16="http://schemas.microsoft.com/office/drawing/2014/main" id="{711591BD-E95C-464D-8A40-4225EA24EE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844" y="3068980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5907" y="85465"/>
                </a:moveTo>
                <a:cubicBezTo>
                  <a:pt x="157763" y="85465"/>
                  <a:pt x="143308" y="90174"/>
                  <a:pt x="132542" y="99594"/>
                </a:cubicBezTo>
                <a:cubicBezTo>
                  <a:pt x="121777" y="109013"/>
                  <a:pt x="115570" y="122709"/>
                  <a:pt x="113920" y="140680"/>
                </a:cubicBezTo>
                <a:lnTo>
                  <a:pt x="138012" y="143154"/>
                </a:lnTo>
                <a:cubicBezTo>
                  <a:pt x="138099" y="131173"/>
                  <a:pt x="141528" y="121797"/>
                  <a:pt x="148300" y="115025"/>
                </a:cubicBezTo>
                <a:cubicBezTo>
                  <a:pt x="155071" y="108254"/>
                  <a:pt x="164100" y="104868"/>
                  <a:pt x="175386" y="104868"/>
                </a:cubicBezTo>
                <a:cubicBezTo>
                  <a:pt x="186065" y="104868"/>
                  <a:pt x="194725" y="108058"/>
                  <a:pt x="201366" y="114439"/>
                </a:cubicBezTo>
                <a:cubicBezTo>
                  <a:pt x="208008" y="120820"/>
                  <a:pt x="211328" y="128656"/>
                  <a:pt x="211328" y="137945"/>
                </a:cubicBezTo>
                <a:cubicBezTo>
                  <a:pt x="211328" y="146800"/>
                  <a:pt x="207682" y="156198"/>
                  <a:pt x="200389" y="166139"/>
                </a:cubicBezTo>
                <a:cubicBezTo>
                  <a:pt x="193097" y="176079"/>
                  <a:pt x="179076" y="189557"/>
                  <a:pt x="158327" y="206573"/>
                </a:cubicBezTo>
                <a:cubicBezTo>
                  <a:pt x="144957" y="217512"/>
                  <a:pt x="134735" y="227149"/>
                  <a:pt x="127659" y="235483"/>
                </a:cubicBezTo>
                <a:cubicBezTo>
                  <a:pt x="120583" y="243818"/>
                  <a:pt x="115440" y="252282"/>
                  <a:pt x="112227" y="260877"/>
                </a:cubicBezTo>
                <a:cubicBezTo>
                  <a:pt x="110231" y="266086"/>
                  <a:pt x="109319" y="271512"/>
                  <a:pt x="109493" y="277155"/>
                </a:cubicBezTo>
                <a:lnTo>
                  <a:pt x="235680" y="277155"/>
                </a:lnTo>
                <a:lnTo>
                  <a:pt x="235680" y="254626"/>
                </a:lnTo>
                <a:lnTo>
                  <a:pt x="142049" y="254626"/>
                </a:lnTo>
                <a:cubicBezTo>
                  <a:pt x="144653" y="250372"/>
                  <a:pt x="147952" y="246140"/>
                  <a:pt x="151946" y="241929"/>
                </a:cubicBezTo>
                <a:cubicBezTo>
                  <a:pt x="155939" y="237719"/>
                  <a:pt x="164968" y="229710"/>
                  <a:pt x="179033" y="217903"/>
                </a:cubicBezTo>
                <a:cubicBezTo>
                  <a:pt x="195875" y="203665"/>
                  <a:pt x="207921" y="192466"/>
                  <a:pt x="215170" y="184305"/>
                </a:cubicBezTo>
                <a:cubicBezTo>
                  <a:pt x="222419" y="176144"/>
                  <a:pt x="227606" y="168374"/>
                  <a:pt x="230732" y="160995"/>
                </a:cubicBezTo>
                <a:cubicBezTo>
                  <a:pt x="233857" y="153615"/>
                  <a:pt x="235420" y="146106"/>
                  <a:pt x="235420" y="138466"/>
                </a:cubicBezTo>
                <a:cubicBezTo>
                  <a:pt x="235420" y="123447"/>
                  <a:pt x="230081" y="110858"/>
                  <a:pt x="219402" y="100701"/>
                </a:cubicBezTo>
                <a:cubicBezTo>
                  <a:pt x="208724" y="90543"/>
                  <a:pt x="194225" y="85465"/>
                  <a:pt x="175907" y="8546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5" name="Textplatzhalter 33">
            <a:extLst>
              <a:ext uri="{FF2B5EF4-FFF2-40B4-BE49-F238E27FC236}">
                <a16:creationId xmlns:a16="http://schemas.microsoft.com/office/drawing/2014/main" id="{984161AE-E8BB-4BD1-AB4F-EB402EB5F63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616280" y="3068960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2371" y="85485"/>
                </a:moveTo>
                <a:cubicBezTo>
                  <a:pt x="157265" y="85485"/>
                  <a:pt x="144633" y="89804"/>
                  <a:pt x="134476" y="98442"/>
                </a:cubicBezTo>
                <a:cubicBezTo>
                  <a:pt x="124318" y="107080"/>
                  <a:pt x="117807" y="119256"/>
                  <a:pt x="114942" y="134970"/>
                </a:cubicBezTo>
                <a:lnTo>
                  <a:pt x="138382" y="139137"/>
                </a:lnTo>
                <a:cubicBezTo>
                  <a:pt x="140119" y="127677"/>
                  <a:pt x="144025" y="119082"/>
                  <a:pt x="150102" y="113353"/>
                </a:cubicBezTo>
                <a:cubicBezTo>
                  <a:pt x="156180" y="107623"/>
                  <a:pt x="163776" y="104758"/>
                  <a:pt x="172892" y="104758"/>
                </a:cubicBezTo>
                <a:cubicBezTo>
                  <a:pt x="182094" y="104758"/>
                  <a:pt x="189604" y="107579"/>
                  <a:pt x="195421" y="113222"/>
                </a:cubicBezTo>
                <a:cubicBezTo>
                  <a:pt x="201237" y="118865"/>
                  <a:pt x="204146" y="125984"/>
                  <a:pt x="204146" y="134579"/>
                </a:cubicBezTo>
                <a:cubicBezTo>
                  <a:pt x="204146" y="145431"/>
                  <a:pt x="200152" y="153462"/>
                  <a:pt x="192165" y="158671"/>
                </a:cubicBezTo>
                <a:cubicBezTo>
                  <a:pt x="184178" y="163880"/>
                  <a:pt x="175192" y="166484"/>
                  <a:pt x="165209" y="166484"/>
                </a:cubicBezTo>
                <a:cubicBezTo>
                  <a:pt x="164254" y="166484"/>
                  <a:pt x="162995" y="166397"/>
                  <a:pt x="161432" y="166224"/>
                </a:cubicBezTo>
                <a:lnTo>
                  <a:pt x="158828" y="186799"/>
                </a:lnTo>
                <a:cubicBezTo>
                  <a:pt x="165426" y="185063"/>
                  <a:pt x="170938" y="184195"/>
                  <a:pt x="175366" y="184195"/>
                </a:cubicBezTo>
                <a:cubicBezTo>
                  <a:pt x="186218" y="184195"/>
                  <a:pt x="195160" y="187689"/>
                  <a:pt x="202192" y="194678"/>
                </a:cubicBezTo>
                <a:cubicBezTo>
                  <a:pt x="209224" y="201667"/>
                  <a:pt x="212741" y="210544"/>
                  <a:pt x="212741" y="221309"/>
                </a:cubicBezTo>
                <a:cubicBezTo>
                  <a:pt x="212741" y="232595"/>
                  <a:pt x="208942" y="242058"/>
                  <a:pt x="201346" y="249698"/>
                </a:cubicBezTo>
                <a:cubicBezTo>
                  <a:pt x="193749" y="257338"/>
                  <a:pt x="184438" y="261158"/>
                  <a:pt x="173413" y="261158"/>
                </a:cubicBezTo>
                <a:cubicBezTo>
                  <a:pt x="164123" y="261158"/>
                  <a:pt x="156245" y="258227"/>
                  <a:pt x="149777" y="252367"/>
                </a:cubicBezTo>
                <a:cubicBezTo>
                  <a:pt x="143309" y="246507"/>
                  <a:pt x="138730" y="236936"/>
                  <a:pt x="136038" y="223653"/>
                </a:cubicBezTo>
                <a:lnTo>
                  <a:pt x="112598" y="226778"/>
                </a:lnTo>
                <a:cubicBezTo>
                  <a:pt x="114161" y="242666"/>
                  <a:pt x="120476" y="255601"/>
                  <a:pt x="131546" y="265585"/>
                </a:cubicBezTo>
                <a:cubicBezTo>
                  <a:pt x="142615" y="275569"/>
                  <a:pt x="156527" y="280561"/>
                  <a:pt x="173282" y="280561"/>
                </a:cubicBezTo>
                <a:cubicBezTo>
                  <a:pt x="191861" y="280561"/>
                  <a:pt x="207228" y="274766"/>
                  <a:pt x="219382" y="263176"/>
                </a:cubicBezTo>
                <a:cubicBezTo>
                  <a:pt x="231536" y="251586"/>
                  <a:pt x="237613" y="237457"/>
                  <a:pt x="237613" y="220788"/>
                </a:cubicBezTo>
                <a:cubicBezTo>
                  <a:pt x="237613" y="208460"/>
                  <a:pt x="234488" y="198194"/>
                  <a:pt x="228237" y="189990"/>
                </a:cubicBezTo>
                <a:cubicBezTo>
                  <a:pt x="221986" y="181786"/>
                  <a:pt x="213218" y="176381"/>
                  <a:pt x="201932" y="173777"/>
                </a:cubicBezTo>
                <a:cubicBezTo>
                  <a:pt x="210614" y="169783"/>
                  <a:pt x="217168" y="164401"/>
                  <a:pt x="221596" y="157629"/>
                </a:cubicBezTo>
                <a:cubicBezTo>
                  <a:pt x="226023" y="150857"/>
                  <a:pt x="228237" y="143348"/>
                  <a:pt x="228237" y="135100"/>
                </a:cubicBezTo>
                <a:cubicBezTo>
                  <a:pt x="228237" y="126418"/>
                  <a:pt x="225915" y="118214"/>
                  <a:pt x="221270" y="110488"/>
                </a:cubicBezTo>
                <a:cubicBezTo>
                  <a:pt x="216626" y="102761"/>
                  <a:pt x="209919" y="96662"/>
                  <a:pt x="201151" y="92191"/>
                </a:cubicBezTo>
                <a:cubicBezTo>
                  <a:pt x="192382" y="87720"/>
                  <a:pt x="182789" y="85485"/>
                  <a:pt x="172371" y="8548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2624908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ho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ildplatzhalter 26">
            <a:extLst>
              <a:ext uri="{FF2B5EF4-FFF2-40B4-BE49-F238E27FC236}">
                <a16:creationId xmlns:a16="http://schemas.microsoft.com/office/drawing/2014/main" id="{EFAAF43C-9B59-4AC7-850C-694F03DE057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79375" y="0"/>
            <a:ext cx="3240000" cy="6858000"/>
          </a:xfrm>
          <a:solidFill>
            <a:schemeClr val="accent3"/>
          </a:solidFill>
        </p:spPr>
        <p:txBody>
          <a:bodyPr tIns="367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Optional: To add a picture click the icon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C3B87A74-3F1C-4021-8369-282FE226B3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79376" y="0"/>
            <a:ext cx="719210" cy="6856269"/>
          </a:xfrm>
          <a:custGeom>
            <a:avLst/>
            <a:gdLst>
              <a:gd name="connsiteX0" fmla="*/ 0 w 719210"/>
              <a:gd name="connsiteY0" fmla="*/ 0 h 6856269"/>
              <a:gd name="connsiteX1" fmla="*/ 719210 w 719210"/>
              <a:gd name="connsiteY1" fmla="*/ 0 h 6856269"/>
              <a:gd name="connsiteX2" fmla="*/ 719210 w 719210"/>
              <a:gd name="connsiteY2" fmla="*/ 6 h 6856269"/>
              <a:gd name="connsiteX3" fmla="*/ 0 w 719210"/>
              <a:gd name="connsiteY3" fmla="*/ 6856269 h 6856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210" h="6856269">
                <a:moveTo>
                  <a:pt x="0" y="0"/>
                </a:moveTo>
                <a:lnTo>
                  <a:pt x="719210" y="0"/>
                </a:lnTo>
                <a:lnTo>
                  <a:pt x="719210" y="6"/>
                </a:lnTo>
                <a:lnTo>
                  <a:pt x="0" y="6856269"/>
                </a:lnTo>
                <a:close/>
              </a:path>
            </a:pathLst>
          </a:custGeom>
          <a:solidFill>
            <a:schemeClr val="accent1">
              <a:alpha val="32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F5B457A7-6900-4A35-91F4-72996550BF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79376" y="-1"/>
            <a:ext cx="719840" cy="6857999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20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ED86B9B-4F63-484F-B206-DC00AD0475B9}"/>
              </a:ext>
            </a:extLst>
          </p:cNvPr>
          <p:cNvSpPr/>
          <p:nvPr userDrawn="1"/>
        </p:nvSpPr>
        <p:spPr bwMode="gray">
          <a:xfrm>
            <a:off x="0" y="0"/>
            <a:ext cx="47937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C97BE3F-D3B2-4307-AAF0-D21AE4DACE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943872" y="2765067"/>
            <a:ext cx="5616000" cy="1944000"/>
          </a:xfrm>
        </p:spPr>
        <p:txBody>
          <a:bodyPr anchor="t"/>
          <a:lstStyle>
            <a:lvl1pPr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he first Agenda point </a:t>
            </a:r>
          </a:p>
        </p:txBody>
      </p:sp>
      <p:sp>
        <p:nvSpPr>
          <p:cNvPr id="34" name="Textplatzhalter 20">
            <a:extLst>
              <a:ext uri="{FF2B5EF4-FFF2-40B4-BE49-F238E27FC236}">
                <a16:creationId xmlns:a16="http://schemas.microsoft.com/office/drawing/2014/main" id="{2EB1904C-21B7-4221-8D93-447D07B926E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943872" y="2204864"/>
            <a:ext cx="360000" cy="36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2pPr>
            <a:lvl3pPr marL="0" indent="0" algn="ctr">
              <a:buNone/>
              <a:defRPr sz="2100" b="0">
                <a:solidFill>
                  <a:schemeClr val="bg1"/>
                </a:solidFill>
              </a:defRPr>
            </a:lvl3pPr>
            <a:lvl4pPr marL="0" indent="0" algn="ctr">
              <a:buNone/>
              <a:defRPr sz="2100" b="0">
                <a:solidFill>
                  <a:schemeClr val="bg1"/>
                </a:solidFill>
              </a:defRPr>
            </a:lvl4pPr>
            <a:lvl5pPr marL="0" indent="0" algn="ctr">
              <a:buNone/>
              <a:defRPr sz="2100" b="0">
                <a:solidFill>
                  <a:schemeClr val="bg1"/>
                </a:solidFill>
              </a:defRPr>
            </a:lvl5pPr>
            <a:lvl6pPr marL="0" indent="0" algn="ctr">
              <a:buNone/>
              <a:defRPr sz="2100" b="0">
                <a:solidFill>
                  <a:schemeClr val="bg1"/>
                </a:solidFill>
              </a:defRPr>
            </a:lvl6pPr>
            <a:lvl7pPr marL="0" indent="0" algn="ctr">
              <a:buNone/>
              <a:defRPr sz="2100" b="0">
                <a:solidFill>
                  <a:schemeClr val="bg1"/>
                </a:solidFill>
              </a:defRPr>
            </a:lvl7pPr>
            <a:lvl8pPr marL="0" indent="0" algn="ctr">
              <a:buNone/>
              <a:defRPr sz="2100" b="0">
                <a:solidFill>
                  <a:schemeClr val="bg1"/>
                </a:solidFill>
              </a:defRPr>
            </a:lvl8pPr>
            <a:lvl9pPr marL="0" indent="0" algn="ctr"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34FAFE32-E57F-456E-BA83-5BA7BDD5B7F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07368" y="404664"/>
            <a:ext cx="215900" cy="216000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946734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itle + 1/2 picture full hei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1E773914-63E0-4980-BEEC-5E303EB378EC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5663952" y="0"/>
            <a:ext cx="6528048" cy="6872400"/>
          </a:xfrm>
          <a:solidFill>
            <a:schemeClr val="accent2"/>
          </a:solidFill>
        </p:spPr>
        <p:txBody>
          <a:bodyPr tIns="309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Optional: To add a picture click the ic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E4449C-D3A8-4D74-B90C-016DF05490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0" y="0"/>
            <a:ext cx="8688388" cy="6872400"/>
          </a:xfrm>
          <a:solidFill>
            <a:schemeClr val="accent1">
              <a:alpha val="14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984B9416-ED4A-49E0-B515-7988EBC556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0" y="0"/>
            <a:ext cx="8688388" cy="6872400"/>
          </a:xfrm>
          <a:custGeom>
            <a:avLst/>
            <a:gdLst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688388 w 8688388"/>
              <a:gd name="connsiteY2" fmla="*/ 6502988 h 6843712"/>
              <a:gd name="connsiteX3" fmla="*/ 8489074 w 8688388"/>
              <a:gd name="connsiteY3" fmla="*/ 6843712 h 6843712"/>
              <a:gd name="connsiteX4" fmla="*/ 0 w 8688388"/>
              <a:gd name="connsiteY4" fmla="*/ 6843712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489074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261968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88388" h="6843712">
                <a:moveTo>
                  <a:pt x="0" y="0"/>
                </a:moveTo>
                <a:lnTo>
                  <a:pt x="8688388" y="0"/>
                </a:lnTo>
                <a:lnTo>
                  <a:pt x="8261968" y="6843712"/>
                </a:lnTo>
                <a:lnTo>
                  <a:pt x="0" y="684371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29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32C64BE6-AD8A-4E51-A914-4B0A09D7B6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-200" y="0"/>
            <a:ext cx="8256788" cy="6872400"/>
          </a:xfrm>
          <a:solidFill>
            <a:schemeClr val="accent1">
              <a:alpha val="43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9AB9EBBA-E090-4E3B-903E-EE1A4618B9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-6350"/>
            <a:ext cx="8262938" cy="6878750"/>
          </a:xfrm>
          <a:custGeom>
            <a:avLst/>
            <a:gdLst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688388 w 8688388"/>
              <a:gd name="connsiteY2" fmla="*/ 6502988 h 6843712"/>
              <a:gd name="connsiteX3" fmla="*/ 8489074 w 8688388"/>
              <a:gd name="connsiteY3" fmla="*/ 6843712 h 6843712"/>
              <a:gd name="connsiteX4" fmla="*/ 0 w 8688388"/>
              <a:gd name="connsiteY4" fmla="*/ 6843712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489074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261968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826196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938" h="6850035">
                <a:moveTo>
                  <a:pt x="0" y="6323"/>
                </a:moveTo>
                <a:lnTo>
                  <a:pt x="8262938" y="0"/>
                </a:lnTo>
                <a:cubicBezTo>
                  <a:pt x="8040365" y="1606732"/>
                  <a:pt x="7608241" y="4851248"/>
                  <a:pt x="7392018" y="6850035"/>
                </a:cubicBezTo>
                <a:lnTo>
                  <a:pt x="0" y="6850035"/>
                </a:lnTo>
                <a:lnTo>
                  <a:pt x="0" y="6323"/>
                </a:lnTo>
                <a:close/>
              </a:path>
            </a:pathLst>
          </a:custGeom>
          <a:solidFill>
            <a:schemeClr val="accent1">
              <a:alpha val="71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A5549737-36F4-4377-8780-3644CA9A880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0" y="0"/>
            <a:ext cx="7391400" cy="6872400"/>
          </a:xfrm>
          <a:solidFill>
            <a:schemeClr val="accent1">
              <a:alpha val="37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DF190BAB-CD34-46F5-8CD1-2EC6A71D47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9" y="0"/>
            <a:ext cx="7384397" cy="6885574"/>
          </a:xfrm>
          <a:custGeom>
            <a:avLst/>
            <a:gdLst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688388 w 8688388"/>
              <a:gd name="connsiteY2" fmla="*/ 6502988 h 6843712"/>
              <a:gd name="connsiteX3" fmla="*/ 8489074 w 8688388"/>
              <a:gd name="connsiteY3" fmla="*/ 6843712 h 6843712"/>
              <a:gd name="connsiteX4" fmla="*/ 0 w 8688388"/>
              <a:gd name="connsiteY4" fmla="*/ 6843712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489074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261968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826196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7452925"/>
              <a:gd name="connsiteY0" fmla="*/ 6323 h 6850035"/>
              <a:gd name="connsiteX1" fmla="*/ 7384397 w 7452925"/>
              <a:gd name="connsiteY1" fmla="*/ 0 h 6850035"/>
              <a:gd name="connsiteX2" fmla="*/ 7392018 w 7452925"/>
              <a:gd name="connsiteY2" fmla="*/ 6850035 h 6850035"/>
              <a:gd name="connsiteX3" fmla="*/ 0 w 7452925"/>
              <a:gd name="connsiteY3" fmla="*/ 6850035 h 6850035"/>
              <a:gd name="connsiteX4" fmla="*/ 0 w 7452925"/>
              <a:gd name="connsiteY4" fmla="*/ 6323 h 6850035"/>
              <a:gd name="connsiteX0" fmla="*/ 0 w 7384397"/>
              <a:gd name="connsiteY0" fmla="*/ 6323 h 6856831"/>
              <a:gd name="connsiteX1" fmla="*/ 7384397 w 7384397"/>
              <a:gd name="connsiteY1" fmla="*/ 0 h 6856831"/>
              <a:gd name="connsiteX2" fmla="*/ 5645105 w 7384397"/>
              <a:gd name="connsiteY2" fmla="*/ 6856831 h 6856831"/>
              <a:gd name="connsiteX3" fmla="*/ 0 w 7384397"/>
              <a:gd name="connsiteY3" fmla="*/ 6850035 h 6856831"/>
              <a:gd name="connsiteX4" fmla="*/ 0 w 7384397"/>
              <a:gd name="connsiteY4" fmla="*/ 6323 h 6856831"/>
              <a:gd name="connsiteX0" fmla="*/ 0 w 7384397"/>
              <a:gd name="connsiteY0" fmla="*/ 6323 h 6856831"/>
              <a:gd name="connsiteX1" fmla="*/ 7384397 w 7384397"/>
              <a:gd name="connsiteY1" fmla="*/ 0 h 6856831"/>
              <a:gd name="connsiteX2" fmla="*/ 5645105 w 7384397"/>
              <a:gd name="connsiteY2" fmla="*/ 6856831 h 6856831"/>
              <a:gd name="connsiteX3" fmla="*/ 0 w 7384397"/>
              <a:gd name="connsiteY3" fmla="*/ 6850035 h 6856831"/>
              <a:gd name="connsiteX4" fmla="*/ 0 w 7384397"/>
              <a:gd name="connsiteY4" fmla="*/ 6323 h 6856831"/>
              <a:gd name="connsiteX0" fmla="*/ 0 w 7384397"/>
              <a:gd name="connsiteY0" fmla="*/ 6323 h 6856831"/>
              <a:gd name="connsiteX1" fmla="*/ 7384397 w 7384397"/>
              <a:gd name="connsiteY1" fmla="*/ 0 h 6856831"/>
              <a:gd name="connsiteX2" fmla="*/ 5645105 w 7384397"/>
              <a:gd name="connsiteY2" fmla="*/ 6856831 h 6856831"/>
              <a:gd name="connsiteX3" fmla="*/ 0 w 7384397"/>
              <a:gd name="connsiteY3" fmla="*/ 6850035 h 6856831"/>
              <a:gd name="connsiteX4" fmla="*/ 0 w 7384397"/>
              <a:gd name="connsiteY4" fmla="*/ 6323 h 6856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84397" h="6856831">
                <a:moveTo>
                  <a:pt x="0" y="6323"/>
                </a:moveTo>
                <a:lnTo>
                  <a:pt x="7384397" y="0"/>
                </a:lnTo>
                <a:cubicBezTo>
                  <a:pt x="7114199" y="1018647"/>
                  <a:pt x="6213753" y="4829589"/>
                  <a:pt x="5645105" y="6856831"/>
                </a:cubicBezTo>
                <a:lnTo>
                  <a:pt x="0" y="6850035"/>
                </a:lnTo>
                <a:lnTo>
                  <a:pt x="0" y="6323"/>
                </a:lnTo>
                <a:close/>
              </a:path>
            </a:pathLst>
          </a:custGeom>
          <a:solidFill>
            <a:schemeClr val="accent1">
              <a:alpha val="86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6E9EADC6-C90B-4381-829A-8A0892205F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0" y="0"/>
            <a:ext cx="5663503" cy="6858000"/>
          </a:xfrm>
          <a:solidFill>
            <a:schemeClr val="accent1"/>
          </a:solidFill>
        </p:spPr>
        <p:txBody>
          <a:bodyPr lIns="396000" tIns="1440000" rIns="396000" bIns="1440000" anchor="b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Max. triple-spaced title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0A973AC8-F101-445C-B22B-6D37072DD2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592" y="404664"/>
            <a:ext cx="2016000" cy="486000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B6D4AA3E-6361-4F09-8E08-9FA4CCC356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07988" y="6280536"/>
            <a:ext cx="1350000" cy="180000"/>
          </a:xfr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601351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7" dur="2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8" dur="2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1" dur="2000" fill="hold"/>
                                            <p:tgtEl>
                                              <p:spTgt spid="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2" dur="2000" fill="hold"/>
                                            <p:tgtEl>
                                              <p:spTgt spid="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5" dur="2000" fill="hold"/>
                                            <p:tgtEl>
                                              <p:spTgt spid="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6" dur="2000" fill="hold"/>
                                            <p:tgtEl>
                                              <p:spTgt spid="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9" dur="2500" fill="hold"/>
                                            <p:tgtEl>
                                              <p:spTgt spid="39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0" dur="2500" fill="hold"/>
                                            <p:tgtEl>
                                              <p:spTgt spid="39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3" dur="2500" fill="hold"/>
                                            <p:tgtEl>
                                              <p:spTgt spid="3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4" dur="2500" fill="hold"/>
                                            <p:tgtEl>
                                              <p:spTgt spid="3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7" dur="2000" fill="hold"/>
                                            <p:tgtEl>
                                              <p:spTgt spid="40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8" dur="2000" fill="hold"/>
                                            <p:tgtEl>
                                              <p:spTgt spid="40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1" dur="2000" fill="hold"/>
                                            <p:tgtEl>
                                              <p:spTgt spid="4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2" dur="2000" fill="hold"/>
                                            <p:tgtEl>
                                              <p:spTgt spid="4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5" dur="2500" fill="hold"/>
                                            <p:tgtEl>
                                              <p:spTgt spid="4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6" dur="2500" fill="hold"/>
                                            <p:tgtEl>
                                              <p:spTgt spid="4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9" dur="2500" fill="hold"/>
                                            <p:tgtEl>
                                              <p:spTgt spid="4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40" dur="2500" fill="hold"/>
                                            <p:tgtEl>
                                              <p:spTgt spid="4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43" dur="2000" fill="hold"/>
                                            <p:tgtEl>
                                              <p:spTgt spid="4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44" dur="2000" fill="hold"/>
                                            <p:tgtEl>
                                              <p:spTgt spid="4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47" dur="2000" fill="hold"/>
                                            <p:tgtEl>
                                              <p:spTgt spid="4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48" dur="2000" fill="hold"/>
                                            <p:tgtEl>
                                              <p:spTgt spid="4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51" dur="2000" fill="hold"/>
                                            <p:tgtEl>
                                              <p:spTgt spid="4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52" dur="2000" fill="hold"/>
                                            <p:tgtEl>
                                              <p:spTgt spid="4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55" dur="2000" fill="hold"/>
                                            <p:tgtEl>
                                              <p:spTgt spid="4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56" dur="2000" fill="hold"/>
                                            <p:tgtEl>
                                              <p:spTgt spid="4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7" presetID="2" presetClass="entr" presetSubtype="2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9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0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7" grpId="0" animBg="1"/>
          <p:bldP spid="5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9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0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1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4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4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4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4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2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4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2000" fill="hold"/>
                                            <p:tgtEl>
                                              <p:spTgt spid="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2000" fill="hold"/>
                                            <p:tgtEl>
                                              <p:spTgt spid="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2500" fill="hold"/>
                                            <p:tgtEl>
                                              <p:spTgt spid="39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2500" fill="hold"/>
                                            <p:tgtEl>
                                              <p:spTgt spid="39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2500" fill="hold"/>
                                            <p:tgtEl>
                                              <p:spTgt spid="3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2500" fill="hold"/>
                                            <p:tgtEl>
                                              <p:spTgt spid="3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2000" fill="hold"/>
                                            <p:tgtEl>
                                              <p:spTgt spid="40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2000" fill="hold"/>
                                            <p:tgtEl>
                                              <p:spTgt spid="40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2000" fill="hold"/>
                                            <p:tgtEl>
                                              <p:spTgt spid="4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2000" fill="hold"/>
                                            <p:tgtEl>
                                              <p:spTgt spid="4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2500" fill="hold"/>
                                            <p:tgtEl>
                                              <p:spTgt spid="4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2500" fill="hold"/>
                                            <p:tgtEl>
                                              <p:spTgt spid="4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9" dur="2500" fill="hold"/>
                                            <p:tgtEl>
                                              <p:spTgt spid="4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0" dur="2500" fill="hold"/>
                                            <p:tgtEl>
                                              <p:spTgt spid="4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3" dur="2000" fill="hold"/>
                                            <p:tgtEl>
                                              <p:spTgt spid="4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4" dur="2000" fill="hold"/>
                                            <p:tgtEl>
                                              <p:spTgt spid="4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7" dur="2000" fill="hold"/>
                                            <p:tgtEl>
                                              <p:spTgt spid="4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8" dur="2000" fill="hold"/>
                                            <p:tgtEl>
                                              <p:spTgt spid="4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1" dur="2000" fill="hold"/>
                                            <p:tgtEl>
                                              <p:spTgt spid="4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2" dur="2000" fill="hold"/>
                                            <p:tgtEl>
                                              <p:spTgt spid="4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5" dur="2000" fill="hold"/>
                                            <p:tgtEl>
                                              <p:spTgt spid="4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6" dur="2000" fill="hold"/>
                                            <p:tgtEl>
                                              <p:spTgt spid="4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7" presetID="2" presetClass="entr" presetSubtype="2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9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0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7" grpId="0" animBg="1"/>
          <p:bldP spid="5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9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3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3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3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3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0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4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4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4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4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1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4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4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4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4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2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4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4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4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4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4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4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4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4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4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pos="5201" userDrawn="1">
          <p15:clr>
            <a:srgbClr val="FBAE40"/>
          </p15:clr>
        </p15:guide>
        <p15:guide id="2" pos="4656" userDrawn="1">
          <p15:clr>
            <a:srgbClr val="FBAE40"/>
          </p15:clr>
        </p15:guide>
        <p15:guide id="3" pos="3568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treme title without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7271BF-E425-4962-BFFD-363A0B4BC1CC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407988" y="1628774"/>
            <a:ext cx="11376000" cy="2376000"/>
          </a:xfrm>
        </p:spPr>
        <p:txBody>
          <a:bodyPr anchor="b"/>
          <a:lstStyle>
            <a:lvl1pPr algn="l">
              <a:lnSpc>
                <a:spcPct val="100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Max. triple-spaced title</a:t>
            </a:r>
          </a:p>
        </p:txBody>
      </p:sp>
      <p:pic>
        <p:nvPicPr>
          <p:cNvPr id="60" name="Grafik 59">
            <a:extLst>
              <a:ext uri="{FF2B5EF4-FFF2-40B4-BE49-F238E27FC236}">
                <a16:creationId xmlns:a16="http://schemas.microsoft.com/office/drawing/2014/main" id="{25BD3E8D-AF9B-4875-BC3E-0F994CD5FE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7368" y="404664"/>
            <a:ext cx="2016000" cy="484994"/>
          </a:xfrm>
          <a:prstGeom prst="rect">
            <a:avLst/>
          </a:prstGeo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A78E4F1-0234-4BA0-976F-CF4E5895FF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0" y="4221163"/>
            <a:ext cx="12192000" cy="2636837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1" name="Textplatzhalter 50">
            <a:extLst>
              <a:ext uri="{FF2B5EF4-FFF2-40B4-BE49-F238E27FC236}">
                <a16:creationId xmlns:a16="http://schemas.microsoft.com/office/drawing/2014/main" id="{40498674-3E50-47A9-AFD9-25239E9532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 flipH="1">
            <a:off x="0" y="4221163"/>
            <a:ext cx="12192000" cy="2636837"/>
          </a:xfrm>
          <a:custGeom>
            <a:avLst/>
            <a:gdLst>
              <a:gd name="connsiteX0" fmla="*/ 0 w 12192000"/>
              <a:gd name="connsiteY0" fmla="*/ 0 h 2636837"/>
              <a:gd name="connsiteX1" fmla="*/ 11864200 w 12192000"/>
              <a:gd name="connsiteY1" fmla="*/ 0 h 2636837"/>
              <a:gd name="connsiteX2" fmla="*/ 12192000 w 12192000"/>
              <a:gd name="connsiteY2" fmla="*/ 408191 h 2636837"/>
              <a:gd name="connsiteX3" fmla="*/ 12192000 w 12192000"/>
              <a:gd name="connsiteY3" fmla="*/ 2636837 h 2636837"/>
              <a:gd name="connsiteX4" fmla="*/ 0 w 12192000"/>
              <a:gd name="connsiteY4" fmla="*/ 2636837 h 2636837"/>
              <a:gd name="connsiteX0" fmla="*/ 0 w 12192000"/>
              <a:gd name="connsiteY0" fmla="*/ 0 h 2636837"/>
              <a:gd name="connsiteX1" fmla="*/ 12192000 w 12192000"/>
              <a:gd name="connsiteY1" fmla="*/ 408191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  <a:gd name="connsiteX0" fmla="*/ 0 w 12192000"/>
              <a:gd name="connsiteY0" fmla="*/ 0 h 2636837"/>
              <a:gd name="connsiteX1" fmla="*/ 12186024 w 12192000"/>
              <a:gd name="connsiteY1" fmla="*/ 862402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2636837">
                <a:moveTo>
                  <a:pt x="0" y="0"/>
                </a:moveTo>
                <a:lnTo>
                  <a:pt x="12186024" y="862402"/>
                </a:lnTo>
                <a:lnTo>
                  <a:pt x="12192000" y="2636837"/>
                </a:lnTo>
                <a:lnTo>
                  <a:pt x="0" y="263683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A7C521A6-B884-4D51-8048-DA6AEDD5F9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5085184"/>
            <a:ext cx="12192000" cy="1772816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C6EE7C3C-178E-426C-B904-486E06346D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 flipH="1">
            <a:off x="0" y="5085184"/>
            <a:ext cx="12192000" cy="1772816"/>
          </a:xfrm>
          <a:custGeom>
            <a:avLst/>
            <a:gdLst>
              <a:gd name="connsiteX0" fmla="*/ 0 w 12192000"/>
              <a:gd name="connsiteY0" fmla="*/ 0 h 2636837"/>
              <a:gd name="connsiteX1" fmla="*/ 11864200 w 12192000"/>
              <a:gd name="connsiteY1" fmla="*/ 0 h 2636837"/>
              <a:gd name="connsiteX2" fmla="*/ 12192000 w 12192000"/>
              <a:gd name="connsiteY2" fmla="*/ 408191 h 2636837"/>
              <a:gd name="connsiteX3" fmla="*/ 12192000 w 12192000"/>
              <a:gd name="connsiteY3" fmla="*/ 2636837 h 2636837"/>
              <a:gd name="connsiteX4" fmla="*/ 0 w 12192000"/>
              <a:gd name="connsiteY4" fmla="*/ 2636837 h 2636837"/>
              <a:gd name="connsiteX0" fmla="*/ 0 w 12192000"/>
              <a:gd name="connsiteY0" fmla="*/ 0 h 2636837"/>
              <a:gd name="connsiteX1" fmla="*/ 12192000 w 12192000"/>
              <a:gd name="connsiteY1" fmla="*/ 408191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  <a:gd name="connsiteX0" fmla="*/ 0 w 12192000"/>
              <a:gd name="connsiteY0" fmla="*/ 0 h 2636837"/>
              <a:gd name="connsiteX1" fmla="*/ 12186024 w 12192000"/>
              <a:gd name="connsiteY1" fmla="*/ 862402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  <a:gd name="connsiteX0" fmla="*/ 0 w 12192000"/>
              <a:gd name="connsiteY0" fmla="*/ 0 h 2636837"/>
              <a:gd name="connsiteX1" fmla="*/ 12192000 w 12192000"/>
              <a:gd name="connsiteY1" fmla="*/ 2636837 h 2636837"/>
              <a:gd name="connsiteX2" fmla="*/ 0 w 12192000"/>
              <a:gd name="connsiteY2" fmla="*/ 2636837 h 2636837"/>
              <a:gd name="connsiteX3" fmla="*/ 0 w 12192000"/>
              <a:gd name="connsiteY3" fmla="*/ 0 h 2636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636837">
                <a:moveTo>
                  <a:pt x="0" y="0"/>
                </a:moveTo>
                <a:lnTo>
                  <a:pt x="12192000" y="2636837"/>
                </a:lnTo>
                <a:lnTo>
                  <a:pt x="0" y="263683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17D68BEE-0106-4A39-B6C4-C174E69FD2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33316" y="626256"/>
            <a:ext cx="135230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04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7" dur="2000" fill="hold"/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8" dur="2000" fill="hold"/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1" dur="2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2" dur="2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5" dur="2000" fill="hold"/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6" dur="2000" fill="hold"/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9" dur="2000" fill="hold"/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0" dur="2000" fill="hold"/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3" dur="2000" fill="hold"/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4" dur="2000" fill="hold"/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7" dur="2000" fill="hold"/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8" dur="2000" fill="hold"/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1" dur="2000" fill="hold"/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2" dur="2000" fill="hold"/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5" dur="2000" fill="hold"/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6" dur="2000" fill="hold"/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build="p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1" grpId="0" build="p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2" grpId="0" build="p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3" grpId="0" build="p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2000" fill="hold"/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2000" fill="hold"/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2000" fill="hold"/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2000" fill="hold"/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2000" fill="hold"/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2000" fill="hold"/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2000" fill="hold"/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2000" fill="hold"/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2000" fill="hold"/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2000" fill="hold"/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2000" fill="hold"/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2000" fill="hold"/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build="p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1" grpId="0" build="p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2" grpId="0" build="p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3" grpId="0" build="p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3203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agenda 3 poin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E225523-4114-4313-9B98-A0650456C2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11225" y="3716990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3136FB6-2459-40BA-89FC-1C0C4A085B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911225" y="2562782"/>
            <a:ext cx="2881313" cy="1008000"/>
          </a:xfrm>
        </p:spPr>
        <p:txBody>
          <a:bodyPr anchor="b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6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600" b="0">
                <a:solidFill>
                  <a:schemeClr val="bg1"/>
                </a:solidFill>
              </a:defRPr>
            </a:lvl2pPr>
            <a:lvl3pPr marL="0" indent="0">
              <a:buNone/>
              <a:defRPr sz="3600" b="0">
                <a:solidFill>
                  <a:schemeClr val="bg1"/>
                </a:solidFill>
              </a:defRPr>
            </a:lvl3pPr>
            <a:lvl4pPr marL="0" indent="0">
              <a:buNone/>
              <a:defRPr sz="3600" b="0">
                <a:solidFill>
                  <a:schemeClr val="bg1"/>
                </a:solidFill>
              </a:defRPr>
            </a:lvl4pPr>
            <a:lvl5pPr marL="0" indent="0">
              <a:buNone/>
              <a:defRPr sz="3600" b="0">
                <a:solidFill>
                  <a:schemeClr val="bg1"/>
                </a:solidFill>
              </a:defRPr>
            </a:lvl5pPr>
            <a:lvl6pPr marL="0" indent="0">
              <a:buNone/>
              <a:defRPr sz="3600" b="0">
                <a:solidFill>
                  <a:schemeClr val="bg1"/>
                </a:solidFill>
              </a:defRPr>
            </a:lvl6pPr>
            <a:lvl7pPr marL="0" indent="0">
              <a:buNone/>
              <a:defRPr sz="3600" b="0">
                <a:solidFill>
                  <a:schemeClr val="bg1"/>
                </a:solidFill>
              </a:defRPr>
            </a:lvl7pPr>
            <a:lvl8pPr marL="0" indent="0">
              <a:buNone/>
              <a:defRPr sz="3600" b="0">
                <a:solidFill>
                  <a:schemeClr val="bg1"/>
                </a:solidFill>
              </a:defRPr>
            </a:lvl8pPr>
            <a:lvl9pPr marL="0" indent="0">
              <a:buNone/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First agenda point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50B90DF4-2122-40A6-B0D7-CFBAA91F4F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4654847" y="2563899"/>
            <a:ext cx="2881313" cy="1008000"/>
          </a:xfrm>
        </p:spPr>
        <p:txBody>
          <a:bodyPr anchor="b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600" b="0">
                <a:solidFill>
                  <a:schemeClr val="bg1"/>
                </a:solidFill>
              </a:defRPr>
            </a:lvl1pPr>
            <a:lvl2pPr marL="0" indent="536575">
              <a:buFont typeface="Arial" panose="020B0604020202020204" pitchFamily="34" charset="0"/>
              <a:buNone/>
              <a:defRPr sz="3600" b="0">
                <a:solidFill>
                  <a:schemeClr val="bg1"/>
                </a:solidFill>
              </a:defRPr>
            </a:lvl2pPr>
            <a:lvl3pPr marL="0" indent="0">
              <a:buNone/>
              <a:defRPr sz="3600" b="0">
                <a:solidFill>
                  <a:schemeClr val="bg1"/>
                </a:solidFill>
              </a:defRPr>
            </a:lvl3pPr>
            <a:lvl4pPr marL="0" indent="0">
              <a:buNone/>
              <a:defRPr sz="3600" b="0">
                <a:solidFill>
                  <a:schemeClr val="bg1"/>
                </a:solidFill>
              </a:defRPr>
            </a:lvl4pPr>
            <a:lvl5pPr marL="0" indent="0">
              <a:buNone/>
              <a:defRPr sz="3600" b="0">
                <a:solidFill>
                  <a:schemeClr val="bg1"/>
                </a:solidFill>
              </a:defRPr>
            </a:lvl5pPr>
            <a:lvl6pPr marL="0" indent="0">
              <a:buNone/>
              <a:defRPr sz="3600" b="0">
                <a:solidFill>
                  <a:schemeClr val="bg1"/>
                </a:solidFill>
              </a:defRPr>
            </a:lvl6pPr>
            <a:lvl7pPr marL="0" indent="0">
              <a:buNone/>
              <a:defRPr sz="3600" b="0">
                <a:solidFill>
                  <a:schemeClr val="bg1"/>
                </a:solidFill>
              </a:defRPr>
            </a:lvl7pPr>
            <a:lvl8pPr marL="0" indent="0">
              <a:buNone/>
              <a:defRPr sz="3600" b="0">
                <a:solidFill>
                  <a:schemeClr val="bg1"/>
                </a:solidFill>
              </a:defRPr>
            </a:lvl8pPr>
            <a:lvl9pPr marL="0" indent="0">
              <a:buNone/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Second agenda point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5B50EB4E-71BC-49D0-A120-31E1C616C7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8400256" y="2565016"/>
            <a:ext cx="2881313" cy="1008000"/>
          </a:xfrm>
        </p:spPr>
        <p:txBody>
          <a:bodyPr anchor="b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6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600" b="0">
                <a:solidFill>
                  <a:schemeClr val="bg1"/>
                </a:solidFill>
              </a:defRPr>
            </a:lvl2pPr>
            <a:lvl3pPr marL="0" indent="0">
              <a:buNone/>
              <a:defRPr sz="3600" b="0">
                <a:solidFill>
                  <a:schemeClr val="bg1"/>
                </a:solidFill>
              </a:defRPr>
            </a:lvl3pPr>
            <a:lvl4pPr marL="0" indent="0">
              <a:buNone/>
              <a:defRPr sz="3600" b="0">
                <a:solidFill>
                  <a:schemeClr val="bg1"/>
                </a:solidFill>
              </a:defRPr>
            </a:lvl4pPr>
            <a:lvl5pPr marL="0" indent="0">
              <a:buNone/>
              <a:defRPr sz="3600" b="0">
                <a:solidFill>
                  <a:schemeClr val="bg1"/>
                </a:solidFill>
              </a:defRPr>
            </a:lvl5pPr>
            <a:lvl6pPr marL="0" indent="0">
              <a:buNone/>
              <a:defRPr sz="3600" b="0">
                <a:solidFill>
                  <a:schemeClr val="bg1"/>
                </a:solidFill>
              </a:defRPr>
            </a:lvl6pPr>
            <a:lvl7pPr marL="0" indent="0">
              <a:buNone/>
              <a:defRPr sz="3600" b="0">
                <a:solidFill>
                  <a:schemeClr val="bg1"/>
                </a:solidFill>
              </a:defRPr>
            </a:lvl7pPr>
            <a:lvl8pPr marL="0" indent="0">
              <a:buNone/>
              <a:defRPr sz="3600" b="0">
                <a:solidFill>
                  <a:schemeClr val="bg1"/>
                </a:solidFill>
              </a:defRPr>
            </a:lvl8pPr>
            <a:lvl9pPr marL="0" indent="0">
              <a:buNone/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hird agenda point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A07888D3-4341-44B4-9CC4-A50BD18919F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911424" y="3933184"/>
            <a:ext cx="2881114" cy="115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25CED698-1D53-4E3A-BFDD-D6EE69F9CA7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black">
          <a:xfrm>
            <a:off x="4655046" y="3933056"/>
            <a:ext cx="2881114" cy="1152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lick to add a text</a:t>
            </a:r>
          </a:p>
          <a:p>
            <a:pPr lvl="0"/>
            <a:endParaRPr lang="en-US" noProof="0"/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DFA4C0C2-A9A0-4623-BB19-6405AAA37F1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black">
          <a:xfrm>
            <a:off x="8400256" y="3932928"/>
            <a:ext cx="2881114" cy="115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442934B4-71EF-4A60-981A-811BA776E6D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911424" y="2276896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85674" y="85465"/>
                </a:moveTo>
                <a:cubicBezTo>
                  <a:pt x="181593" y="93712"/>
                  <a:pt x="174648" y="102220"/>
                  <a:pt x="164838" y="110989"/>
                </a:cubicBezTo>
                <a:cubicBezTo>
                  <a:pt x="155028" y="119757"/>
                  <a:pt x="143568" y="127223"/>
                  <a:pt x="130459" y="133387"/>
                </a:cubicBezTo>
                <a:lnTo>
                  <a:pt x="130459" y="156046"/>
                </a:lnTo>
                <a:cubicBezTo>
                  <a:pt x="137751" y="153355"/>
                  <a:pt x="145977" y="149318"/>
                  <a:pt x="155136" y="143935"/>
                </a:cubicBezTo>
                <a:cubicBezTo>
                  <a:pt x="164295" y="138553"/>
                  <a:pt x="171696" y="133170"/>
                  <a:pt x="177339" y="127787"/>
                </a:cubicBezTo>
                <a:lnTo>
                  <a:pt x="177339" y="277155"/>
                </a:lnTo>
                <a:lnTo>
                  <a:pt x="200780" y="277155"/>
                </a:lnTo>
                <a:lnTo>
                  <a:pt x="200780" y="85465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8E7EB96F-1BED-4B46-A752-FC0705FA4B4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655840" y="2276896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5907" y="85465"/>
                </a:moveTo>
                <a:cubicBezTo>
                  <a:pt x="157763" y="85465"/>
                  <a:pt x="143308" y="90174"/>
                  <a:pt x="132542" y="99594"/>
                </a:cubicBezTo>
                <a:cubicBezTo>
                  <a:pt x="121777" y="109013"/>
                  <a:pt x="115570" y="122709"/>
                  <a:pt x="113920" y="140680"/>
                </a:cubicBezTo>
                <a:lnTo>
                  <a:pt x="138012" y="143154"/>
                </a:lnTo>
                <a:cubicBezTo>
                  <a:pt x="138099" y="131173"/>
                  <a:pt x="141528" y="121797"/>
                  <a:pt x="148300" y="115025"/>
                </a:cubicBezTo>
                <a:cubicBezTo>
                  <a:pt x="155071" y="108254"/>
                  <a:pt x="164100" y="104868"/>
                  <a:pt x="175386" y="104868"/>
                </a:cubicBezTo>
                <a:cubicBezTo>
                  <a:pt x="186065" y="104868"/>
                  <a:pt x="194725" y="108058"/>
                  <a:pt x="201366" y="114439"/>
                </a:cubicBezTo>
                <a:cubicBezTo>
                  <a:pt x="208008" y="120820"/>
                  <a:pt x="211328" y="128656"/>
                  <a:pt x="211328" y="137945"/>
                </a:cubicBezTo>
                <a:cubicBezTo>
                  <a:pt x="211328" y="146800"/>
                  <a:pt x="207682" y="156198"/>
                  <a:pt x="200389" y="166139"/>
                </a:cubicBezTo>
                <a:cubicBezTo>
                  <a:pt x="193097" y="176079"/>
                  <a:pt x="179076" y="189557"/>
                  <a:pt x="158327" y="206573"/>
                </a:cubicBezTo>
                <a:cubicBezTo>
                  <a:pt x="144957" y="217512"/>
                  <a:pt x="134735" y="227149"/>
                  <a:pt x="127659" y="235483"/>
                </a:cubicBezTo>
                <a:cubicBezTo>
                  <a:pt x="120583" y="243818"/>
                  <a:pt x="115440" y="252282"/>
                  <a:pt x="112227" y="260877"/>
                </a:cubicBezTo>
                <a:cubicBezTo>
                  <a:pt x="110231" y="266086"/>
                  <a:pt x="109319" y="271512"/>
                  <a:pt x="109493" y="277155"/>
                </a:cubicBezTo>
                <a:lnTo>
                  <a:pt x="235680" y="277155"/>
                </a:lnTo>
                <a:lnTo>
                  <a:pt x="235680" y="254626"/>
                </a:lnTo>
                <a:lnTo>
                  <a:pt x="142049" y="254626"/>
                </a:lnTo>
                <a:cubicBezTo>
                  <a:pt x="144653" y="250372"/>
                  <a:pt x="147952" y="246140"/>
                  <a:pt x="151946" y="241929"/>
                </a:cubicBezTo>
                <a:cubicBezTo>
                  <a:pt x="155939" y="237719"/>
                  <a:pt x="164968" y="229710"/>
                  <a:pt x="179033" y="217903"/>
                </a:cubicBezTo>
                <a:cubicBezTo>
                  <a:pt x="195875" y="203665"/>
                  <a:pt x="207921" y="192466"/>
                  <a:pt x="215170" y="184305"/>
                </a:cubicBezTo>
                <a:cubicBezTo>
                  <a:pt x="222419" y="176144"/>
                  <a:pt x="227606" y="168374"/>
                  <a:pt x="230732" y="160995"/>
                </a:cubicBezTo>
                <a:cubicBezTo>
                  <a:pt x="233857" y="153615"/>
                  <a:pt x="235420" y="146106"/>
                  <a:pt x="235420" y="138466"/>
                </a:cubicBezTo>
                <a:cubicBezTo>
                  <a:pt x="235420" y="123447"/>
                  <a:pt x="230081" y="110858"/>
                  <a:pt x="219402" y="100701"/>
                </a:cubicBezTo>
                <a:cubicBezTo>
                  <a:pt x="208724" y="90543"/>
                  <a:pt x="194225" y="85465"/>
                  <a:pt x="175907" y="8546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2DB56DC-AF63-43EB-B289-CBACDB84D0E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400256" y="2276876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2371" y="85485"/>
                </a:moveTo>
                <a:cubicBezTo>
                  <a:pt x="157265" y="85485"/>
                  <a:pt x="144633" y="89804"/>
                  <a:pt x="134476" y="98442"/>
                </a:cubicBezTo>
                <a:cubicBezTo>
                  <a:pt x="124318" y="107080"/>
                  <a:pt x="117807" y="119256"/>
                  <a:pt x="114942" y="134970"/>
                </a:cubicBezTo>
                <a:lnTo>
                  <a:pt x="138382" y="139137"/>
                </a:lnTo>
                <a:cubicBezTo>
                  <a:pt x="140119" y="127677"/>
                  <a:pt x="144025" y="119082"/>
                  <a:pt x="150102" y="113353"/>
                </a:cubicBezTo>
                <a:cubicBezTo>
                  <a:pt x="156180" y="107623"/>
                  <a:pt x="163776" y="104758"/>
                  <a:pt x="172892" y="104758"/>
                </a:cubicBezTo>
                <a:cubicBezTo>
                  <a:pt x="182094" y="104758"/>
                  <a:pt x="189604" y="107579"/>
                  <a:pt x="195421" y="113222"/>
                </a:cubicBezTo>
                <a:cubicBezTo>
                  <a:pt x="201237" y="118865"/>
                  <a:pt x="204146" y="125984"/>
                  <a:pt x="204146" y="134579"/>
                </a:cubicBezTo>
                <a:cubicBezTo>
                  <a:pt x="204146" y="145431"/>
                  <a:pt x="200152" y="153462"/>
                  <a:pt x="192165" y="158671"/>
                </a:cubicBezTo>
                <a:cubicBezTo>
                  <a:pt x="184178" y="163880"/>
                  <a:pt x="175192" y="166484"/>
                  <a:pt x="165209" y="166484"/>
                </a:cubicBezTo>
                <a:cubicBezTo>
                  <a:pt x="164254" y="166484"/>
                  <a:pt x="162995" y="166397"/>
                  <a:pt x="161432" y="166224"/>
                </a:cubicBezTo>
                <a:lnTo>
                  <a:pt x="158828" y="186799"/>
                </a:lnTo>
                <a:cubicBezTo>
                  <a:pt x="165426" y="185063"/>
                  <a:pt x="170938" y="184195"/>
                  <a:pt x="175366" y="184195"/>
                </a:cubicBezTo>
                <a:cubicBezTo>
                  <a:pt x="186218" y="184195"/>
                  <a:pt x="195160" y="187689"/>
                  <a:pt x="202192" y="194678"/>
                </a:cubicBezTo>
                <a:cubicBezTo>
                  <a:pt x="209224" y="201667"/>
                  <a:pt x="212741" y="210544"/>
                  <a:pt x="212741" y="221309"/>
                </a:cubicBezTo>
                <a:cubicBezTo>
                  <a:pt x="212741" y="232595"/>
                  <a:pt x="208942" y="242058"/>
                  <a:pt x="201346" y="249698"/>
                </a:cubicBezTo>
                <a:cubicBezTo>
                  <a:pt x="193749" y="257338"/>
                  <a:pt x="184438" y="261158"/>
                  <a:pt x="173413" y="261158"/>
                </a:cubicBezTo>
                <a:cubicBezTo>
                  <a:pt x="164123" y="261158"/>
                  <a:pt x="156245" y="258227"/>
                  <a:pt x="149777" y="252367"/>
                </a:cubicBezTo>
                <a:cubicBezTo>
                  <a:pt x="143309" y="246507"/>
                  <a:pt x="138730" y="236936"/>
                  <a:pt x="136038" y="223653"/>
                </a:cubicBezTo>
                <a:lnTo>
                  <a:pt x="112598" y="226778"/>
                </a:lnTo>
                <a:cubicBezTo>
                  <a:pt x="114161" y="242666"/>
                  <a:pt x="120476" y="255601"/>
                  <a:pt x="131546" y="265585"/>
                </a:cubicBezTo>
                <a:cubicBezTo>
                  <a:pt x="142615" y="275569"/>
                  <a:pt x="156527" y="280561"/>
                  <a:pt x="173282" y="280561"/>
                </a:cubicBezTo>
                <a:cubicBezTo>
                  <a:pt x="191861" y="280561"/>
                  <a:pt x="207228" y="274766"/>
                  <a:pt x="219382" y="263176"/>
                </a:cubicBezTo>
                <a:cubicBezTo>
                  <a:pt x="231536" y="251586"/>
                  <a:pt x="237613" y="237457"/>
                  <a:pt x="237613" y="220788"/>
                </a:cubicBezTo>
                <a:cubicBezTo>
                  <a:pt x="237613" y="208460"/>
                  <a:pt x="234488" y="198194"/>
                  <a:pt x="228237" y="189990"/>
                </a:cubicBezTo>
                <a:cubicBezTo>
                  <a:pt x="221986" y="181786"/>
                  <a:pt x="213218" y="176381"/>
                  <a:pt x="201932" y="173777"/>
                </a:cubicBezTo>
                <a:cubicBezTo>
                  <a:pt x="210614" y="169783"/>
                  <a:pt x="217168" y="164401"/>
                  <a:pt x="221596" y="157629"/>
                </a:cubicBezTo>
                <a:cubicBezTo>
                  <a:pt x="226023" y="150857"/>
                  <a:pt x="228237" y="143348"/>
                  <a:pt x="228237" y="135100"/>
                </a:cubicBezTo>
                <a:cubicBezTo>
                  <a:pt x="228237" y="126418"/>
                  <a:pt x="225915" y="118214"/>
                  <a:pt x="221270" y="110488"/>
                </a:cubicBezTo>
                <a:cubicBezTo>
                  <a:pt x="216626" y="102761"/>
                  <a:pt x="209919" y="96662"/>
                  <a:pt x="201151" y="92191"/>
                </a:cubicBezTo>
                <a:cubicBezTo>
                  <a:pt x="192382" y="87720"/>
                  <a:pt x="182789" y="85485"/>
                  <a:pt x="172371" y="8548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FD8631E2-4291-431C-B361-3EF530D0FE7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654847" y="3717032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318E363F-2DF7-4BA7-948F-E560E20BBD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8399263" y="3717074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C764CFC0-47AF-4924-AC0C-AE34BEB323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07368" y="404813"/>
            <a:ext cx="216241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2929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agenda 6 poin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B6203FE2-73DC-44BA-B6F3-62B72DFD6D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911225" y="1052808"/>
            <a:ext cx="2881313" cy="720000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2pPr>
            <a:lvl3pPr marL="0" indent="0">
              <a:buNone/>
              <a:defRPr sz="2100" b="0">
                <a:solidFill>
                  <a:schemeClr val="bg1"/>
                </a:solidFill>
              </a:defRPr>
            </a:lvl3pPr>
            <a:lvl4pPr marL="0" indent="0">
              <a:buNone/>
              <a:defRPr sz="2100" b="0">
                <a:solidFill>
                  <a:schemeClr val="bg1"/>
                </a:solidFill>
              </a:defRPr>
            </a:lvl4pPr>
            <a:lvl5pPr marL="0" indent="0">
              <a:buNone/>
              <a:defRPr sz="2100" b="0">
                <a:solidFill>
                  <a:schemeClr val="bg1"/>
                </a:solidFill>
              </a:defRPr>
            </a:lvl5pPr>
            <a:lvl6pPr marL="0" indent="0">
              <a:buNone/>
              <a:defRPr sz="2100" b="0">
                <a:solidFill>
                  <a:schemeClr val="bg1"/>
                </a:solidFill>
              </a:defRPr>
            </a:lvl6pPr>
            <a:lvl7pPr marL="0" indent="0">
              <a:buNone/>
              <a:defRPr sz="2100" b="0">
                <a:solidFill>
                  <a:schemeClr val="bg1"/>
                </a:solidFill>
              </a:defRPr>
            </a:lvl7pPr>
            <a:lvl8pPr marL="0" indent="0">
              <a:buNone/>
              <a:defRPr sz="2100" b="0">
                <a:solidFill>
                  <a:schemeClr val="bg1"/>
                </a:solidFill>
              </a:defRPr>
            </a:lvl8pPr>
            <a:lvl9pPr marL="0" indent="0"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First agenda point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57982D12-3797-4BCF-9C07-45C3F2C5B2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4654847" y="1053925"/>
            <a:ext cx="2881313" cy="720000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2pPr>
            <a:lvl3pPr marL="0" indent="0">
              <a:buNone/>
              <a:defRPr sz="2100" b="0">
                <a:solidFill>
                  <a:schemeClr val="bg1"/>
                </a:solidFill>
              </a:defRPr>
            </a:lvl3pPr>
            <a:lvl4pPr marL="0" indent="0">
              <a:buNone/>
              <a:defRPr sz="2100" b="0">
                <a:solidFill>
                  <a:schemeClr val="bg1"/>
                </a:solidFill>
              </a:defRPr>
            </a:lvl4pPr>
            <a:lvl5pPr marL="0" indent="0">
              <a:buNone/>
              <a:defRPr sz="2100" b="0">
                <a:solidFill>
                  <a:schemeClr val="bg1"/>
                </a:solidFill>
              </a:defRPr>
            </a:lvl5pPr>
            <a:lvl6pPr marL="0" indent="0">
              <a:buNone/>
              <a:defRPr sz="2100" b="0">
                <a:solidFill>
                  <a:schemeClr val="bg1"/>
                </a:solidFill>
              </a:defRPr>
            </a:lvl6pPr>
            <a:lvl7pPr marL="0" indent="0">
              <a:buNone/>
              <a:defRPr sz="2100" b="0">
                <a:solidFill>
                  <a:schemeClr val="bg1"/>
                </a:solidFill>
              </a:defRPr>
            </a:lvl7pPr>
            <a:lvl8pPr marL="0" indent="0">
              <a:buNone/>
              <a:defRPr sz="2100" b="0">
                <a:solidFill>
                  <a:schemeClr val="bg1"/>
                </a:solidFill>
              </a:defRPr>
            </a:lvl8pPr>
            <a:lvl9pPr marL="0" indent="0"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Second agenda point</a:t>
            </a:r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id="{C4F002BD-8FC8-4516-ADE5-2B7D021B198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8400256" y="1055042"/>
            <a:ext cx="2881313" cy="720000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2pPr>
            <a:lvl3pPr marL="0" indent="0">
              <a:buNone/>
              <a:defRPr sz="2100" b="0">
                <a:solidFill>
                  <a:schemeClr val="bg1"/>
                </a:solidFill>
              </a:defRPr>
            </a:lvl3pPr>
            <a:lvl4pPr marL="0" indent="0">
              <a:buNone/>
              <a:defRPr sz="2100" b="0">
                <a:solidFill>
                  <a:schemeClr val="bg1"/>
                </a:solidFill>
              </a:defRPr>
            </a:lvl4pPr>
            <a:lvl5pPr marL="0" indent="0">
              <a:buNone/>
              <a:defRPr sz="2100" b="0">
                <a:solidFill>
                  <a:schemeClr val="bg1"/>
                </a:solidFill>
              </a:defRPr>
            </a:lvl5pPr>
            <a:lvl6pPr marL="0" indent="0">
              <a:buNone/>
              <a:defRPr sz="2100" b="0">
                <a:solidFill>
                  <a:schemeClr val="bg1"/>
                </a:solidFill>
              </a:defRPr>
            </a:lvl6pPr>
            <a:lvl7pPr marL="0" indent="0">
              <a:buNone/>
              <a:defRPr sz="2100" b="0">
                <a:solidFill>
                  <a:schemeClr val="bg1"/>
                </a:solidFill>
              </a:defRPr>
            </a:lvl7pPr>
            <a:lvl8pPr marL="0" indent="0">
              <a:buNone/>
              <a:defRPr sz="2100" b="0">
                <a:solidFill>
                  <a:schemeClr val="bg1"/>
                </a:solidFill>
              </a:defRPr>
            </a:lvl8pPr>
            <a:lvl9pPr marL="0" indent="0"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hird agenda point</a:t>
            </a:r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5F1EE3D3-EE11-4BC3-BC80-5E6D74CA770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910033" y="2135146"/>
            <a:ext cx="2881114" cy="11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20925C97-E973-4B76-BD73-DDEE7EE9AD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black">
          <a:xfrm>
            <a:off x="4653655" y="2135018"/>
            <a:ext cx="2881114" cy="11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7278083B-E7C0-4D63-BF4D-07157E8D934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black">
          <a:xfrm>
            <a:off x="8398865" y="2134890"/>
            <a:ext cx="2881114" cy="11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98E35270-1D8E-4E59-B9AE-EB5E480E9AC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black">
          <a:xfrm>
            <a:off x="912417" y="3642942"/>
            <a:ext cx="2881313" cy="720000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2pPr>
            <a:lvl3pPr marL="0" indent="0">
              <a:buNone/>
              <a:defRPr sz="2100" b="0">
                <a:solidFill>
                  <a:schemeClr val="bg1"/>
                </a:solidFill>
              </a:defRPr>
            </a:lvl3pPr>
            <a:lvl4pPr marL="0" indent="0">
              <a:buNone/>
              <a:defRPr sz="2100" b="0">
                <a:solidFill>
                  <a:schemeClr val="bg1"/>
                </a:solidFill>
              </a:defRPr>
            </a:lvl4pPr>
            <a:lvl5pPr marL="0" indent="0">
              <a:buNone/>
              <a:defRPr sz="2100" b="0">
                <a:solidFill>
                  <a:schemeClr val="bg1"/>
                </a:solidFill>
              </a:defRPr>
            </a:lvl5pPr>
            <a:lvl6pPr marL="0" indent="0">
              <a:buNone/>
              <a:defRPr sz="2100" b="0">
                <a:solidFill>
                  <a:schemeClr val="bg1"/>
                </a:solidFill>
              </a:defRPr>
            </a:lvl6pPr>
            <a:lvl7pPr marL="0" indent="0">
              <a:buNone/>
              <a:defRPr sz="2100" b="0">
                <a:solidFill>
                  <a:schemeClr val="bg1"/>
                </a:solidFill>
              </a:defRPr>
            </a:lvl7pPr>
            <a:lvl8pPr marL="0" indent="0">
              <a:buNone/>
              <a:defRPr sz="2100" b="0">
                <a:solidFill>
                  <a:schemeClr val="bg1"/>
                </a:solidFill>
              </a:defRPr>
            </a:lvl8pPr>
            <a:lvl9pPr marL="0" indent="0"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Fourth agenda point</a:t>
            </a:r>
          </a:p>
        </p:txBody>
      </p: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393A6695-D7FE-416A-9CDB-6E78311E97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black">
          <a:xfrm>
            <a:off x="4656039" y="3644059"/>
            <a:ext cx="2881313" cy="720000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2pPr>
            <a:lvl3pPr marL="0" indent="0">
              <a:buNone/>
              <a:defRPr sz="2100" b="0">
                <a:solidFill>
                  <a:schemeClr val="bg1"/>
                </a:solidFill>
              </a:defRPr>
            </a:lvl3pPr>
            <a:lvl4pPr marL="0" indent="0">
              <a:buNone/>
              <a:defRPr sz="2100" b="0">
                <a:solidFill>
                  <a:schemeClr val="bg1"/>
                </a:solidFill>
              </a:defRPr>
            </a:lvl4pPr>
            <a:lvl5pPr marL="0" indent="0">
              <a:buNone/>
              <a:defRPr sz="2100" b="0">
                <a:solidFill>
                  <a:schemeClr val="bg1"/>
                </a:solidFill>
              </a:defRPr>
            </a:lvl5pPr>
            <a:lvl6pPr marL="0" indent="0">
              <a:buNone/>
              <a:defRPr sz="2100" b="0">
                <a:solidFill>
                  <a:schemeClr val="bg1"/>
                </a:solidFill>
              </a:defRPr>
            </a:lvl6pPr>
            <a:lvl7pPr marL="0" indent="0">
              <a:buNone/>
              <a:defRPr sz="2100" b="0">
                <a:solidFill>
                  <a:schemeClr val="bg1"/>
                </a:solidFill>
              </a:defRPr>
            </a:lvl7pPr>
            <a:lvl8pPr marL="0" indent="0">
              <a:buNone/>
              <a:defRPr sz="2100" b="0">
                <a:solidFill>
                  <a:schemeClr val="bg1"/>
                </a:solidFill>
              </a:defRPr>
            </a:lvl8pPr>
            <a:lvl9pPr marL="0" indent="0"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Fifth agenda point</a:t>
            </a:r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DE550246-0BFC-4BB1-A5CE-062A10EB371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black">
          <a:xfrm>
            <a:off x="8401448" y="3645176"/>
            <a:ext cx="2881313" cy="720000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2pPr>
            <a:lvl3pPr marL="0" indent="0">
              <a:buNone/>
              <a:defRPr sz="2100" b="0">
                <a:solidFill>
                  <a:schemeClr val="bg1"/>
                </a:solidFill>
              </a:defRPr>
            </a:lvl3pPr>
            <a:lvl4pPr marL="0" indent="0">
              <a:buNone/>
              <a:defRPr sz="2100" b="0">
                <a:solidFill>
                  <a:schemeClr val="bg1"/>
                </a:solidFill>
              </a:defRPr>
            </a:lvl4pPr>
            <a:lvl5pPr marL="0" indent="0">
              <a:buNone/>
              <a:defRPr sz="2100" b="0">
                <a:solidFill>
                  <a:schemeClr val="bg1"/>
                </a:solidFill>
              </a:defRPr>
            </a:lvl5pPr>
            <a:lvl6pPr marL="0" indent="0">
              <a:buNone/>
              <a:defRPr sz="2100" b="0">
                <a:solidFill>
                  <a:schemeClr val="bg1"/>
                </a:solidFill>
              </a:defRPr>
            </a:lvl6pPr>
            <a:lvl7pPr marL="0" indent="0">
              <a:buNone/>
              <a:defRPr sz="2100" b="0">
                <a:solidFill>
                  <a:schemeClr val="bg1"/>
                </a:solidFill>
              </a:defRPr>
            </a:lvl7pPr>
            <a:lvl8pPr marL="0" indent="0">
              <a:buNone/>
              <a:defRPr sz="2100" b="0">
                <a:solidFill>
                  <a:schemeClr val="bg1"/>
                </a:solidFill>
              </a:defRPr>
            </a:lvl8pPr>
            <a:lvl9pPr marL="0" indent="0"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Sixth agenda point</a:t>
            </a:r>
          </a:p>
        </p:txBody>
      </p:sp>
      <p:sp>
        <p:nvSpPr>
          <p:cNvPr id="35" name="Textplatzhalter 14">
            <a:extLst>
              <a:ext uri="{FF2B5EF4-FFF2-40B4-BE49-F238E27FC236}">
                <a16:creationId xmlns:a16="http://schemas.microsoft.com/office/drawing/2014/main" id="{38AAACAC-41AC-4504-B646-C505F150C8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black">
          <a:xfrm>
            <a:off x="912616" y="4725280"/>
            <a:ext cx="2881114" cy="11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36" name="Textplatzhalter 14">
            <a:extLst>
              <a:ext uri="{FF2B5EF4-FFF2-40B4-BE49-F238E27FC236}">
                <a16:creationId xmlns:a16="http://schemas.microsoft.com/office/drawing/2014/main" id="{8B45A32E-4F11-4C7F-928E-A99B0F0F79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black">
          <a:xfrm>
            <a:off x="4654847" y="4725152"/>
            <a:ext cx="2881114" cy="11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37" name="Textplatzhalter 14">
            <a:extLst>
              <a:ext uri="{FF2B5EF4-FFF2-40B4-BE49-F238E27FC236}">
                <a16:creationId xmlns:a16="http://schemas.microsoft.com/office/drawing/2014/main" id="{59739B57-E117-4286-B66F-46F79CA4EDE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black">
          <a:xfrm>
            <a:off x="8400057" y="4725024"/>
            <a:ext cx="2881114" cy="11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585A9C2C-4A80-4797-BE96-C4BEC1C5CA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911424" y="836736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85674" y="85465"/>
                </a:moveTo>
                <a:cubicBezTo>
                  <a:pt x="181593" y="93712"/>
                  <a:pt x="174648" y="102220"/>
                  <a:pt x="164838" y="110989"/>
                </a:cubicBezTo>
                <a:cubicBezTo>
                  <a:pt x="155028" y="119757"/>
                  <a:pt x="143568" y="127223"/>
                  <a:pt x="130459" y="133387"/>
                </a:cubicBezTo>
                <a:lnTo>
                  <a:pt x="130459" y="156046"/>
                </a:lnTo>
                <a:cubicBezTo>
                  <a:pt x="137751" y="153355"/>
                  <a:pt x="145977" y="149318"/>
                  <a:pt x="155136" y="143935"/>
                </a:cubicBezTo>
                <a:cubicBezTo>
                  <a:pt x="164295" y="138553"/>
                  <a:pt x="171696" y="133170"/>
                  <a:pt x="177339" y="127787"/>
                </a:cubicBezTo>
                <a:lnTo>
                  <a:pt x="177339" y="277155"/>
                </a:lnTo>
                <a:lnTo>
                  <a:pt x="200780" y="277155"/>
                </a:lnTo>
                <a:lnTo>
                  <a:pt x="200780" y="85465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D418C9F0-9FD6-4591-B152-967C280F955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655840" y="836736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5907" y="85465"/>
                </a:moveTo>
                <a:cubicBezTo>
                  <a:pt x="157763" y="85465"/>
                  <a:pt x="143308" y="90174"/>
                  <a:pt x="132542" y="99594"/>
                </a:cubicBezTo>
                <a:cubicBezTo>
                  <a:pt x="121777" y="109013"/>
                  <a:pt x="115570" y="122709"/>
                  <a:pt x="113920" y="140680"/>
                </a:cubicBezTo>
                <a:lnTo>
                  <a:pt x="138012" y="143154"/>
                </a:lnTo>
                <a:cubicBezTo>
                  <a:pt x="138099" y="131173"/>
                  <a:pt x="141528" y="121797"/>
                  <a:pt x="148300" y="115025"/>
                </a:cubicBezTo>
                <a:cubicBezTo>
                  <a:pt x="155071" y="108254"/>
                  <a:pt x="164100" y="104868"/>
                  <a:pt x="175386" y="104868"/>
                </a:cubicBezTo>
                <a:cubicBezTo>
                  <a:pt x="186065" y="104868"/>
                  <a:pt x="194725" y="108058"/>
                  <a:pt x="201366" y="114439"/>
                </a:cubicBezTo>
                <a:cubicBezTo>
                  <a:pt x="208008" y="120820"/>
                  <a:pt x="211328" y="128656"/>
                  <a:pt x="211328" y="137945"/>
                </a:cubicBezTo>
                <a:cubicBezTo>
                  <a:pt x="211328" y="146800"/>
                  <a:pt x="207682" y="156198"/>
                  <a:pt x="200389" y="166139"/>
                </a:cubicBezTo>
                <a:cubicBezTo>
                  <a:pt x="193097" y="176079"/>
                  <a:pt x="179076" y="189557"/>
                  <a:pt x="158327" y="206573"/>
                </a:cubicBezTo>
                <a:cubicBezTo>
                  <a:pt x="144957" y="217512"/>
                  <a:pt x="134735" y="227149"/>
                  <a:pt x="127659" y="235483"/>
                </a:cubicBezTo>
                <a:cubicBezTo>
                  <a:pt x="120583" y="243818"/>
                  <a:pt x="115440" y="252282"/>
                  <a:pt x="112227" y="260877"/>
                </a:cubicBezTo>
                <a:cubicBezTo>
                  <a:pt x="110231" y="266086"/>
                  <a:pt x="109319" y="271512"/>
                  <a:pt x="109493" y="277155"/>
                </a:cubicBezTo>
                <a:lnTo>
                  <a:pt x="235680" y="277155"/>
                </a:lnTo>
                <a:lnTo>
                  <a:pt x="235680" y="254626"/>
                </a:lnTo>
                <a:lnTo>
                  <a:pt x="142049" y="254626"/>
                </a:lnTo>
                <a:cubicBezTo>
                  <a:pt x="144653" y="250372"/>
                  <a:pt x="147952" y="246140"/>
                  <a:pt x="151946" y="241929"/>
                </a:cubicBezTo>
                <a:cubicBezTo>
                  <a:pt x="155939" y="237719"/>
                  <a:pt x="164968" y="229710"/>
                  <a:pt x="179033" y="217903"/>
                </a:cubicBezTo>
                <a:cubicBezTo>
                  <a:pt x="195875" y="203665"/>
                  <a:pt x="207921" y="192466"/>
                  <a:pt x="215170" y="184305"/>
                </a:cubicBezTo>
                <a:cubicBezTo>
                  <a:pt x="222419" y="176144"/>
                  <a:pt x="227606" y="168374"/>
                  <a:pt x="230732" y="160995"/>
                </a:cubicBezTo>
                <a:cubicBezTo>
                  <a:pt x="233857" y="153615"/>
                  <a:pt x="235420" y="146106"/>
                  <a:pt x="235420" y="138466"/>
                </a:cubicBezTo>
                <a:cubicBezTo>
                  <a:pt x="235420" y="123447"/>
                  <a:pt x="230081" y="110858"/>
                  <a:pt x="219402" y="100701"/>
                </a:cubicBezTo>
                <a:cubicBezTo>
                  <a:pt x="208724" y="90543"/>
                  <a:pt x="194225" y="85465"/>
                  <a:pt x="175907" y="8546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35ABC069-5E08-4064-9A74-A7B129C851A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400256" y="836716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2371" y="85485"/>
                </a:moveTo>
                <a:cubicBezTo>
                  <a:pt x="157265" y="85485"/>
                  <a:pt x="144633" y="89804"/>
                  <a:pt x="134476" y="98442"/>
                </a:cubicBezTo>
                <a:cubicBezTo>
                  <a:pt x="124318" y="107080"/>
                  <a:pt x="117807" y="119256"/>
                  <a:pt x="114942" y="134970"/>
                </a:cubicBezTo>
                <a:lnTo>
                  <a:pt x="138382" y="139137"/>
                </a:lnTo>
                <a:cubicBezTo>
                  <a:pt x="140119" y="127677"/>
                  <a:pt x="144025" y="119082"/>
                  <a:pt x="150102" y="113353"/>
                </a:cubicBezTo>
                <a:cubicBezTo>
                  <a:pt x="156180" y="107623"/>
                  <a:pt x="163776" y="104758"/>
                  <a:pt x="172892" y="104758"/>
                </a:cubicBezTo>
                <a:cubicBezTo>
                  <a:pt x="182094" y="104758"/>
                  <a:pt x="189604" y="107579"/>
                  <a:pt x="195421" y="113222"/>
                </a:cubicBezTo>
                <a:cubicBezTo>
                  <a:pt x="201237" y="118865"/>
                  <a:pt x="204146" y="125984"/>
                  <a:pt x="204146" y="134579"/>
                </a:cubicBezTo>
                <a:cubicBezTo>
                  <a:pt x="204146" y="145431"/>
                  <a:pt x="200152" y="153462"/>
                  <a:pt x="192165" y="158671"/>
                </a:cubicBezTo>
                <a:cubicBezTo>
                  <a:pt x="184178" y="163880"/>
                  <a:pt x="175192" y="166484"/>
                  <a:pt x="165209" y="166484"/>
                </a:cubicBezTo>
                <a:cubicBezTo>
                  <a:pt x="164254" y="166484"/>
                  <a:pt x="162995" y="166397"/>
                  <a:pt x="161432" y="166224"/>
                </a:cubicBezTo>
                <a:lnTo>
                  <a:pt x="158828" y="186799"/>
                </a:lnTo>
                <a:cubicBezTo>
                  <a:pt x="165426" y="185063"/>
                  <a:pt x="170938" y="184195"/>
                  <a:pt x="175366" y="184195"/>
                </a:cubicBezTo>
                <a:cubicBezTo>
                  <a:pt x="186218" y="184195"/>
                  <a:pt x="195160" y="187689"/>
                  <a:pt x="202192" y="194678"/>
                </a:cubicBezTo>
                <a:cubicBezTo>
                  <a:pt x="209224" y="201667"/>
                  <a:pt x="212741" y="210544"/>
                  <a:pt x="212741" y="221309"/>
                </a:cubicBezTo>
                <a:cubicBezTo>
                  <a:pt x="212741" y="232595"/>
                  <a:pt x="208942" y="242058"/>
                  <a:pt x="201346" y="249698"/>
                </a:cubicBezTo>
                <a:cubicBezTo>
                  <a:pt x="193749" y="257338"/>
                  <a:pt x="184438" y="261158"/>
                  <a:pt x="173413" y="261158"/>
                </a:cubicBezTo>
                <a:cubicBezTo>
                  <a:pt x="164123" y="261158"/>
                  <a:pt x="156245" y="258227"/>
                  <a:pt x="149777" y="252367"/>
                </a:cubicBezTo>
                <a:cubicBezTo>
                  <a:pt x="143309" y="246507"/>
                  <a:pt x="138730" y="236936"/>
                  <a:pt x="136038" y="223653"/>
                </a:cubicBezTo>
                <a:lnTo>
                  <a:pt x="112598" y="226778"/>
                </a:lnTo>
                <a:cubicBezTo>
                  <a:pt x="114161" y="242666"/>
                  <a:pt x="120476" y="255601"/>
                  <a:pt x="131546" y="265585"/>
                </a:cubicBezTo>
                <a:cubicBezTo>
                  <a:pt x="142615" y="275569"/>
                  <a:pt x="156527" y="280561"/>
                  <a:pt x="173282" y="280561"/>
                </a:cubicBezTo>
                <a:cubicBezTo>
                  <a:pt x="191861" y="280561"/>
                  <a:pt x="207228" y="274766"/>
                  <a:pt x="219382" y="263176"/>
                </a:cubicBezTo>
                <a:cubicBezTo>
                  <a:pt x="231536" y="251586"/>
                  <a:pt x="237613" y="237457"/>
                  <a:pt x="237613" y="220788"/>
                </a:cubicBezTo>
                <a:cubicBezTo>
                  <a:pt x="237613" y="208460"/>
                  <a:pt x="234488" y="198194"/>
                  <a:pt x="228237" y="189990"/>
                </a:cubicBezTo>
                <a:cubicBezTo>
                  <a:pt x="221986" y="181786"/>
                  <a:pt x="213218" y="176381"/>
                  <a:pt x="201932" y="173777"/>
                </a:cubicBezTo>
                <a:cubicBezTo>
                  <a:pt x="210614" y="169783"/>
                  <a:pt x="217168" y="164401"/>
                  <a:pt x="221596" y="157629"/>
                </a:cubicBezTo>
                <a:cubicBezTo>
                  <a:pt x="226023" y="150857"/>
                  <a:pt x="228237" y="143348"/>
                  <a:pt x="228237" y="135100"/>
                </a:cubicBezTo>
                <a:cubicBezTo>
                  <a:pt x="228237" y="126418"/>
                  <a:pt x="225915" y="118214"/>
                  <a:pt x="221270" y="110488"/>
                </a:cubicBezTo>
                <a:cubicBezTo>
                  <a:pt x="216626" y="102761"/>
                  <a:pt x="209919" y="96662"/>
                  <a:pt x="201151" y="92191"/>
                </a:cubicBezTo>
                <a:cubicBezTo>
                  <a:pt x="192382" y="87720"/>
                  <a:pt x="182789" y="85485"/>
                  <a:pt x="172371" y="8548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51" name="Textplatzhalter 50">
            <a:extLst>
              <a:ext uri="{FF2B5EF4-FFF2-40B4-BE49-F238E27FC236}">
                <a16:creationId xmlns:a16="http://schemas.microsoft.com/office/drawing/2014/main" id="{8F9E893B-362F-4055-9E82-765352E19E7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11449" y="3429000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87647" y="123901"/>
                </a:moveTo>
                <a:lnTo>
                  <a:pt x="187647" y="209979"/>
                </a:lnTo>
                <a:lnTo>
                  <a:pt x="127874" y="209979"/>
                </a:lnTo>
                <a:close/>
                <a:moveTo>
                  <a:pt x="191945" y="86266"/>
                </a:moveTo>
                <a:lnTo>
                  <a:pt x="104824" y="209979"/>
                </a:lnTo>
                <a:lnTo>
                  <a:pt x="104824" y="231466"/>
                </a:lnTo>
                <a:lnTo>
                  <a:pt x="187647" y="231466"/>
                </a:lnTo>
                <a:lnTo>
                  <a:pt x="187647" y="277175"/>
                </a:lnTo>
                <a:lnTo>
                  <a:pt x="211088" y="277175"/>
                </a:lnTo>
                <a:lnTo>
                  <a:pt x="211088" y="231466"/>
                </a:lnTo>
                <a:lnTo>
                  <a:pt x="236872" y="231466"/>
                </a:lnTo>
                <a:lnTo>
                  <a:pt x="236872" y="209979"/>
                </a:lnTo>
                <a:lnTo>
                  <a:pt x="211088" y="209979"/>
                </a:lnTo>
                <a:lnTo>
                  <a:pt x="211088" y="86266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BDE23949-3946-429E-9A0F-BB02BF739AB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56039" y="3429040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35127" y="88790"/>
                </a:moveTo>
                <a:lnTo>
                  <a:pt x="116635" y="186850"/>
                </a:lnTo>
                <a:lnTo>
                  <a:pt x="138643" y="189715"/>
                </a:lnTo>
                <a:cubicBezTo>
                  <a:pt x="142116" y="184245"/>
                  <a:pt x="146891" y="179796"/>
                  <a:pt x="152968" y="176367"/>
                </a:cubicBezTo>
                <a:cubicBezTo>
                  <a:pt x="159045" y="172937"/>
                  <a:pt x="165860" y="171223"/>
                  <a:pt x="173413" y="171223"/>
                </a:cubicBezTo>
                <a:cubicBezTo>
                  <a:pt x="185567" y="171223"/>
                  <a:pt x="195399" y="175086"/>
                  <a:pt x="202909" y="182813"/>
                </a:cubicBezTo>
                <a:cubicBezTo>
                  <a:pt x="210418" y="190539"/>
                  <a:pt x="214173" y="201087"/>
                  <a:pt x="214173" y="214457"/>
                </a:cubicBezTo>
                <a:cubicBezTo>
                  <a:pt x="214173" y="228521"/>
                  <a:pt x="210267" y="239808"/>
                  <a:pt x="202453" y="248316"/>
                </a:cubicBezTo>
                <a:cubicBezTo>
                  <a:pt x="194640" y="256824"/>
                  <a:pt x="185090" y="261078"/>
                  <a:pt x="173804" y="261078"/>
                </a:cubicBezTo>
                <a:cubicBezTo>
                  <a:pt x="164427" y="261078"/>
                  <a:pt x="156419" y="258061"/>
                  <a:pt x="149777" y="252027"/>
                </a:cubicBezTo>
                <a:cubicBezTo>
                  <a:pt x="143136" y="245993"/>
                  <a:pt x="138903" y="236986"/>
                  <a:pt x="137080" y="225005"/>
                </a:cubicBezTo>
                <a:lnTo>
                  <a:pt x="112468" y="227089"/>
                </a:lnTo>
                <a:cubicBezTo>
                  <a:pt x="114031" y="243150"/>
                  <a:pt x="120303" y="256042"/>
                  <a:pt x="131285" y="265766"/>
                </a:cubicBezTo>
                <a:cubicBezTo>
                  <a:pt x="142268" y="275489"/>
                  <a:pt x="156440" y="280351"/>
                  <a:pt x="173804" y="280351"/>
                </a:cubicBezTo>
                <a:cubicBezTo>
                  <a:pt x="194987" y="280351"/>
                  <a:pt x="211699" y="272624"/>
                  <a:pt x="223940" y="257171"/>
                </a:cubicBezTo>
                <a:cubicBezTo>
                  <a:pt x="234011" y="244582"/>
                  <a:pt x="239046" y="229650"/>
                  <a:pt x="239046" y="212374"/>
                </a:cubicBezTo>
                <a:cubicBezTo>
                  <a:pt x="239046" y="194229"/>
                  <a:pt x="233316" y="179383"/>
                  <a:pt x="221857" y="167837"/>
                </a:cubicBezTo>
                <a:cubicBezTo>
                  <a:pt x="210397" y="156290"/>
                  <a:pt x="196332" y="150517"/>
                  <a:pt x="179664" y="150517"/>
                </a:cubicBezTo>
                <a:cubicBezTo>
                  <a:pt x="167075" y="150517"/>
                  <a:pt x="155051" y="154510"/>
                  <a:pt x="143592" y="162498"/>
                </a:cubicBezTo>
                <a:lnTo>
                  <a:pt x="153879" y="111189"/>
                </a:lnTo>
                <a:lnTo>
                  <a:pt x="230061" y="111189"/>
                </a:lnTo>
                <a:lnTo>
                  <a:pt x="230061" y="88790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AF5DA7AB-E9ED-440E-B3C9-B02141DC3D8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01448" y="3429040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6448" y="174037"/>
                </a:moveTo>
                <a:cubicBezTo>
                  <a:pt x="187126" y="174037"/>
                  <a:pt x="195982" y="177836"/>
                  <a:pt x="203014" y="185432"/>
                </a:cubicBezTo>
                <a:cubicBezTo>
                  <a:pt x="210046" y="193028"/>
                  <a:pt x="213562" y="203425"/>
                  <a:pt x="213562" y="216621"/>
                </a:cubicBezTo>
                <a:cubicBezTo>
                  <a:pt x="213562" y="230338"/>
                  <a:pt x="210002" y="241190"/>
                  <a:pt x="202883" y="249177"/>
                </a:cubicBezTo>
                <a:cubicBezTo>
                  <a:pt x="195765" y="257164"/>
                  <a:pt x="187257" y="261158"/>
                  <a:pt x="177359" y="261158"/>
                </a:cubicBezTo>
                <a:cubicBezTo>
                  <a:pt x="170588" y="261158"/>
                  <a:pt x="164120" y="259226"/>
                  <a:pt x="157956" y="255363"/>
                </a:cubicBezTo>
                <a:cubicBezTo>
                  <a:pt x="151792" y="251499"/>
                  <a:pt x="146995" y="245878"/>
                  <a:pt x="143566" y="238499"/>
                </a:cubicBezTo>
                <a:cubicBezTo>
                  <a:pt x="140137" y="231119"/>
                  <a:pt x="138422" y="223392"/>
                  <a:pt x="138422" y="215319"/>
                </a:cubicBezTo>
                <a:cubicBezTo>
                  <a:pt x="138422" y="202991"/>
                  <a:pt x="142112" y="193028"/>
                  <a:pt x="149491" y="185432"/>
                </a:cubicBezTo>
                <a:cubicBezTo>
                  <a:pt x="156871" y="177836"/>
                  <a:pt x="165856" y="174037"/>
                  <a:pt x="176448" y="174037"/>
                </a:cubicBezTo>
                <a:close/>
                <a:moveTo>
                  <a:pt x="179964" y="85485"/>
                </a:moveTo>
                <a:cubicBezTo>
                  <a:pt x="159823" y="85485"/>
                  <a:pt x="143805" y="92777"/>
                  <a:pt x="131911" y="107362"/>
                </a:cubicBezTo>
                <a:cubicBezTo>
                  <a:pt x="118281" y="124118"/>
                  <a:pt x="111466" y="150944"/>
                  <a:pt x="111466" y="187841"/>
                </a:cubicBezTo>
                <a:cubicBezTo>
                  <a:pt x="111466" y="220831"/>
                  <a:pt x="117630" y="244511"/>
                  <a:pt x="129958" y="258879"/>
                </a:cubicBezTo>
                <a:cubicBezTo>
                  <a:pt x="142286" y="273247"/>
                  <a:pt x="158216" y="280431"/>
                  <a:pt x="177750" y="280431"/>
                </a:cubicBezTo>
                <a:cubicBezTo>
                  <a:pt x="189210" y="280431"/>
                  <a:pt x="199454" y="277696"/>
                  <a:pt x="208483" y="272227"/>
                </a:cubicBezTo>
                <a:cubicBezTo>
                  <a:pt x="217512" y="266757"/>
                  <a:pt x="224609" y="258879"/>
                  <a:pt x="229775" y="248591"/>
                </a:cubicBezTo>
                <a:cubicBezTo>
                  <a:pt x="234940" y="238303"/>
                  <a:pt x="237523" y="227169"/>
                  <a:pt x="237523" y="215188"/>
                </a:cubicBezTo>
                <a:cubicBezTo>
                  <a:pt x="237523" y="196957"/>
                  <a:pt x="232032" y="182090"/>
                  <a:pt x="221050" y="170586"/>
                </a:cubicBezTo>
                <a:cubicBezTo>
                  <a:pt x="210068" y="159083"/>
                  <a:pt x="196763" y="153332"/>
                  <a:pt x="181136" y="153332"/>
                </a:cubicBezTo>
                <a:cubicBezTo>
                  <a:pt x="172194" y="153332"/>
                  <a:pt x="163642" y="155415"/>
                  <a:pt x="155482" y="159582"/>
                </a:cubicBezTo>
                <a:cubicBezTo>
                  <a:pt x="147321" y="163750"/>
                  <a:pt x="140419" y="170131"/>
                  <a:pt x="134776" y="178725"/>
                </a:cubicBezTo>
                <a:cubicBezTo>
                  <a:pt x="134950" y="159626"/>
                  <a:pt x="137163" y="144910"/>
                  <a:pt x="141417" y="134579"/>
                </a:cubicBezTo>
                <a:cubicBezTo>
                  <a:pt x="145671" y="124248"/>
                  <a:pt x="151488" y="116391"/>
                  <a:pt x="158868" y="111009"/>
                </a:cubicBezTo>
                <a:cubicBezTo>
                  <a:pt x="164511" y="106841"/>
                  <a:pt x="171065" y="104758"/>
                  <a:pt x="178531" y="104758"/>
                </a:cubicBezTo>
                <a:cubicBezTo>
                  <a:pt x="187821" y="104758"/>
                  <a:pt x="195634" y="108100"/>
                  <a:pt x="201972" y="114785"/>
                </a:cubicBezTo>
                <a:cubicBezTo>
                  <a:pt x="205792" y="118952"/>
                  <a:pt x="208744" y="125637"/>
                  <a:pt x="210827" y="134840"/>
                </a:cubicBezTo>
                <a:lnTo>
                  <a:pt x="234137" y="133017"/>
                </a:lnTo>
                <a:cubicBezTo>
                  <a:pt x="232227" y="118171"/>
                  <a:pt x="226476" y="106538"/>
                  <a:pt x="216883" y="98116"/>
                </a:cubicBezTo>
                <a:cubicBezTo>
                  <a:pt x="207289" y="89695"/>
                  <a:pt x="194983" y="85485"/>
                  <a:pt x="179964" y="8548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DD69A0CE-260D-426D-9EC8-EC18C18DB5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11225" y="1916832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502AB94C-CF2C-47CF-A84B-08C69E8ECE2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654847" y="1916874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E0744575-9016-4636-8250-06FE1006920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8399263" y="1916916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Textplatzhalter 4">
            <a:extLst>
              <a:ext uri="{FF2B5EF4-FFF2-40B4-BE49-F238E27FC236}">
                <a16:creationId xmlns:a16="http://schemas.microsoft.com/office/drawing/2014/main" id="{871AC21B-F292-47D2-B2FE-FBFC9BE8E60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911424" y="4509044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8DE39D11-CE0D-48DE-9542-911115F3905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655046" y="4509086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5" name="Textplatzhalter 4">
            <a:extLst>
              <a:ext uri="{FF2B5EF4-FFF2-40B4-BE49-F238E27FC236}">
                <a16:creationId xmlns:a16="http://schemas.microsoft.com/office/drawing/2014/main" id="{FA737A22-A914-4DC7-9990-3C8DAC5E2A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399462" y="4509128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ACD91176-86FB-4D07-95E7-23C8831CCA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07368" y="404813"/>
            <a:ext cx="216241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1815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long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CFEEF-548D-47E7-9F1D-3D21C520F8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140A39-527A-45CF-A911-B921024B92E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86CA4880-D863-4A89-952F-36DED8AB5A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75520" y="2996960"/>
            <a:ext cx="576000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CBE74266-8DAF-4BF1-A34D-95C6C77550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495600" y="2996960"/>
            <a:ext cx="576000" cy="72000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F419869B-D047-4ED8-AD10-1F655C3D77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15680" y="2996960"/>
            <a:ext cx="576000" cy="72000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15A88678-8856-46EF-9C57-E16216A1A3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1775719" y="1628800"/>
            <a:ext cx="8640000" cy="1152000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2pPr>
            <a:lvl3pPr marL="0" indent="0">
              <a:buNone/>
              <a:defRPr sz="3600" b="1">
                <a:solidFill>
                  <a:schemeClr val="bg1"/>
                </a:solidFill>
              </a:defRPr>
            </a:lvl3pPr>
            <a:lvl4pPr marL="0" indent="0">
              <a:buNone/>
              <a:defRPr sz="3600" b="1">
                <a:solidFill>
                  <a:schemeClr val="bg1"/>
                </a:solidFill>
              </a:defRPr>
            </a:lvl4pPr>
            <a:lvl5pPr marL="0" indent="0">
              <a:buNone/>
              <a:defRPr sz="3600" b="1">
                <a:solidFill>
                  <a:schemeClr val="bg1"/>
                </a:solidFill>
              </a:defRPr>
            </a:lvl5pPr>
            <a:lvl6pPr marL="0" indent="0">
              <a:buNone/>
              <a:defRPr sz="3600" b="1">
                <a:solidFill>
                  <a:schemeClr val="bg1"/>
                </a:solidFill>
              </a:defRPr>
            </a:lvl6pPr>
            <a:lvl7pPr marL="0" indent="0">
              <a:buNone/>
              <a:defRPr sz="3600" b="1">
                <a:solidFill>
                  <a:schemeClr val="bg1"/>
                </a:solidFill>
              </a:defRPr>
            </a:lvl7pPr>
            <a:lvl8pPr marL="0" indent="0">
              <a:buNone/>
              <a:defRPr sz="3600" b="1">
                <a:solidFill>
                  <a:schemeClr val="bg1"/>
                </a:solidFill>
              </a:defRPr>
            </a:lvl8pPr>
            <a:lvl9pPr marL="0" indent="0">
              <a:buNone/>
              <a:defRPr sz="3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the first Agenda point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DFD32A2-7C7E-4B3E-B29B-C7DDF334B2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775719" y="3285112"/>
            <a:ext cx="8640000" cy="11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19B3CC31-8704-4A35-B762-85CFD169C7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0" y="4221163"/>
            <a:ext cx="12192000" cy="2636837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7F52F64D-54C6-4875-B55F-CD3DC5DC26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 flipH="1">
            <a:off x="0" y="4221163"/>
            <a:ext cx="12192000" cy="2636837"/>
          </a:xfrm>
          <a:custGeom>
            <a:avLst/>
            <a:gdLst>
              <a:gd name="connsiteX0" fmla="*/ 0 w 12192000"/>
              <a:gd name="connsiteY0" fmla="*/ 0 h 2636837"/>
              <a:gd name="connsiteX1" fmla="*/ 11864200 w 12192000"/>
              <a:gd name="connsiteY1" fmla="*/ 0 h 2636837"/>
              <a:gd name="connsiteX2" fmla="*/ 12192000 w 12192000"/>
              <a:gd name="connsiteY2" fmla="*/ 408191 h 2636837"/>
              <a:gd name="connsiteX3" fmla="*/ 12192000 w 12192000"/>
              <a:gd name="connsiteY3" fmla="*/ 2636837 h 2636837"/>
              <a:gd name="connsiteX4" fmla="*/ 0 w 12192000"/>
              <a:gd name="connsiteY4" fmla="*/ 2636837 h 2636837"/>
              <a:gd name="connsiteX0" fmla="*/ 0 w 12192000"/>
              <a:gd name="connsiteY0" fmla="*/ 0 h 2636837"/>
              <a:gd name="connsiteX1" fmla="*/ 12192000 w 12192000"/>
              <a:gd name="connsiteY1" fmla="*/ 408191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  <a:gd name="connsiteX0" fmla="*/ 0 w 12192000"/>
              <a:gd name="connsiteY0" fmla="*/ 0 h 2636837"/>
              <a:gd name="connsiteX1" fmla="*/ 12186024 w 12192000"/>
              <a:gd name="connsiteY1" fmla="*/ 862402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2636837">
                <a:moveTo>
                  <a:pt x="0" y="0"/>
                </a:moveTo>
                <a:lnTo>
                  <a:pt x="12186024" y="862402"/>
                </a:lnTo>
                <a:lnTo>
                  <a:pt x="12192000" y="2636837"/>
                </a:lnTo>
                <a:lnTo>
                  <a:pt x="0" y="263683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CFFCF637-90A9-46B5-94EF-7389915673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0" y="5085184"/>
            <a:ext cx="12192000" cy="1772816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27BEF6F6-A3AE-4726-86D5-3CEE987F38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 flipH="1">
            <a:off x="0" y="5085184"/>
            <a:ext cx="12192000" cy="1772816"/>
          </a:xfrm>
          <a:custGeom>
            <a:avLst/>
            <a:gdLst>
              <a:gd name="connsiteX0" fmla="*/ 0 w 12192000"/>
              <a:gd name="connsiteY0" fmla="*/ 0 h 2636837"/>
              <a:gd name="connsiteX1" fmla="*/ 11864200 w 12192000"/>
              <a:gd name="connsiteY1" fmla="*/ 0 h 2636837"/>
              <a:gd name="connsiteX2" fmla="*/ 12192000 w 12192000"/>
              <a:gd name="connsiteY2" fmla="*/ 408191 h 2636837"/>
              <a:gd name="connsiteX3" fmla="*/ 12192000 w 12192000"/>
              <a:gd name="connsiteY3" fmla="*/ 2636837 h 2636837"/>
              <a:gd name="connsiteX4" fmla="*/ 0 w 12192000"/>
              <a:gd name="connsiteY4" fmla="*/ 2636837 h 2636837"/>
              <a:gd name="connsiteX0" fmla="*/ 0 w 12192000"/>
              <a:gd name="connsiteY0" fmla="*/ 0 h 2636837"/>
              <a:gd name="connsiteX1" fmla="*/ 12192000 w 12192000"/>
              <a:gd name="connsiteY1" fmla="*/ 408191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  <a:gd name="connsiteX0" fmla="*/ 0 w 12192000"/>
              <a:gd name="connsiteY0" fmla="*/ 0 h 2636837"/>
              <a:gd name="connsiteX1" fmla="*/ 12186024 w 12192000"/>
              <a:gd name="connsiteY1" fmla="*/ 862402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  <a:gd name="connsiteX0" fmla="*/ 0 w 12192000"/>
              <a:gd name="connsiteY0" fmla="*/ 0 h 2636837"/>
              <a:gd name="connsiteX1" fmla="*/ 12192000 w 12192000"/>
              <a:gd name="connsiteY1" fmla="*/ 2636837 h 2636837"/>
              <a:gd name="connsiteX2" fmla="*/ 0 w 12192000"/>
              <a:gd name="connsiteY2" fmla="*/ 2636837 h 2636837"/>
              <a:gd name="connsiteX3" fmla="*/ 0 w 12192000"/>
              <a:gd name="connsiteY3" fmla="*/ 0 h 2636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636837">
                <a:moveTo>
                  <a:pt x="0" y="0"/>
                </a:moveTo>
                <a:lnTo>
                  <a:pt x="12192000" y="2636837"/>
                </a:lnTo>
                <a:lnTo>
                  <a:pt x="0" y="263683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B4C95264-87C3-41D9-BF23-B796F18F65D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935824" y="2996960"/>
            <a:ext cx="576000" cy="72000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AEE66837-2DD2-4D77-9D5C-D29580F16C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655968" y="2996960"/>
            <a:ext cx="576000" cy="72000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6" name="Textplatzhalter 4">
            <a:extLst>
              <a:ext uri="{FF2B5EF4-FFF2-40B4-BE49-F238E27FC236}">
                <a16:creationId xmlns:a16="http://schemas.microsoft.com/office/drawing/2014/main" id="{F4DC1A4C-CF21-4379-BA55-B2B4FBA9DC3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376112" y="2996960"/>
            <a:ext cx="576000" cy="72000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3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A7C38E61-0087-443E-8A4F-1DE6529407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07368" y="404813"/>
            <a:ext cx="216241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126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agenda 6 poi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Bildplatzhalter 26">
            <a:extLst>
              <a:ext uri="{FF2B5EF4-FFF2-40B4-BE49-F238E27FC236}">
                <a16:creationId xmlns:a16="http://schemas.microsoft.com/office/drawing/2014/main" id="{AF84E948-A4F0-4D15-99F3-7C277E43064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5256000" y="0"/>
            <a:ext cx="6936001" cy="2780616"/>
          </a:xfrm>
          <a:solidFill>
            <a:schemeClr val="accent3"/>
          </a:solidFill>
        </p:spPr>
        <p:txBody>
          <a:bodyPr tIns="1584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Optional: To add a picture click the icon</a:t>
            </a:r>
          </a:p>
        </p:txBody>
      </p:sp>
      <p:sp>
        <p:nvSpPr>
          <p:cNvPr id="52" name="Textplatzhalter 28">
            <a:extLst>
              <a:ext uri="{FF2B5EF4-FFF2-40B4-BE49-F238E27FC236}">
                <a16:creationId xmlns:a16="http://schemas.microsoft.com/office/drawing/2014/main" id="{FE260A9A-A912-471B-8CB7-8BDA8EF8699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231904" y="-1"/>
            <a:ext cx="2159370" cy="2780617"/>
          </a:xfrm>
          <a:custGeom>
            <a:avLst/>
            <a:gdLst>
              <a:gd name="connsiteX0" fmla="*/ 0 w 1224000"/>
              <a:gd name="connsiteY0" fmla="*/ 0 h 6872288"/>
              <a:gd name="connsiteX1" fmla="*/ 1224000 w 1224000"/>
              <a:gd name="connsiteY1" fmla="*/ 0 h 6872288"/>
              <a:gd name="connsiteX2" fmla="*/ 1224000 w 1224000"/>
              <a:gd name="connsiteY2" fmla="*/ 6 h 6872288"/>
              <a:gd name="connsiteX3" fmla="*/ 1 w 1224000"/>
              <a:gd name="connsiteY3" fmla="*/ 6872288 h 6872288"/>
              <a:gd name="connsiteX4" fmla="*/ 0 w 1224000"/>
              <a:gd name="connsiteY4" fmla="*/ 6872288 h 6872288"/>
              <a:gd name="connsiteX0" fmla="*/ 2444517 w 3668517"/>
              <a:gd name="connsiteY0" fmla="*/ 0 h 7053344"/>
              <a:gd name="connsiteX1" fmla="*/ 3668517 w 3668517"/>
              <a:gd name="connsiteY1" fmla="*/ 0 h 7053344"/>
              <a:gd name="connsiteX2" fmla="*/ 3668517 w 3668517"/>
              <a:gd name="connsiteY2" fmla="*/ 6 h 7053344"/>
              <a:gd name="connsiteX3" fmla="*/ 2444518 w 3668517"/>
              <a:gd name="connsiteY3" fmla="*/ 6872288 h 7053344"/>
              <a:gd name="connsiteX4" fmla="*/ 2444517 w 3668517"/>
              <a:gd name="connsiteY4" fmla="*/ 6872288 h 7053344"/>
              <a:gd name="connsiteX5" fmla="*/ 0 w 3668517"/>
              <a:gd name="connsiteY5" fmla="*/ 6896100 h 7053344"/>
              <a:gd name="connsiteX6" fmla="*/ 2444517 w 3668517"/>
              <a:gd name="connsiteY6" fmla="*/ 0 h 7053344"/>
              <a:gd name="connsiteX0" fmla="*/ 0 w 3671134"/>
              <a:gd name="connsiteY0" fmla="*/ 0 h 7053344"/>
              <a:gd name="connsiteX1" fmla="*/ 3671134 w 3671134"/>
              <a:gd name="connsiteY1" fmla="*/ 0 h 7053344"/>
              <a:gd name="connsiteX2" fmla="*/ 3671134 w 3671134"/>
              <a:gd name="connsiteY2" fmla="*/ 6 h 7053344"/>
              <a:gd name="connsiteX3" fmla="*/ 2447135 w 3671134"/>
              <a:gd name="connsiteY3" fmla="*/ 6872288 h 7053344"/>
              <a:gd name="connsiteX4" fmla="*/ 2447134 w 3671134"/>
              <a:gd name="connsiteY4" fmla="*/ 6872288 h 7053344"/>
              <a:gd name="connsiteX5" fmla="*/ 2617 w 3671134"/>
              <a:gd name="connsiteY5" fmla="*/ 6896100 h 7053344"/>
              <a:gd name="connsiteX6" fmla="*/ 0 w 3671134"/>
              <a:gd name="connsiteY6" fmla="*/ 0 h 7053344"/>
              <a:gd name="connsiteX0" fmla="*/ 0 w 3671134"/>
              <a:gd name="connsiteY0" fmla="*/ 0 h 7136652"/>
              <a:gd name="connsiteX1" fmla="*/ 3671134 w 3671134"/>
              <a:gd name="connsiteY1" fmla="*/ 0 h 7136652"/>
              <a:gd name="connsiteX2" fmla="*/ 3671134 w 3671134"/>
              <a:gd name="connsiteY2" fmla="*/ 6 h 7136652"/>
              <a:gd name="connsiteX3" fmla="*/ 2447135 w 3671134"/>
              <a:gd name="connsiteY3" fmla="*/ 6872288 h 7136652"/>
              <a:gd name="connsiteX4" fmla="*/ 2447134 w 3671134"/>
              <a:gd name="connsiteY4" fmla="*/ 6872288 h 7136652"/>
              <a:gd name="connsiteX5" fmla="*/ 2617 w 3671134"/>
              <a:gd name="connsiteY5" fmla="*/ 6896100 h 7136652"/>
              <a:gd name="connsiteX6" fmla="*/ 0 w 3671134"/>
              <a:gd name="connsiteY6" fmla="*/ 0 h 7136652"/>
              <a:gd name="connsiteX0" fmla="*/ 2898 w 3674032"/>
              <a:gd name="connsiteY0" fmla="*/ 0 h 7106038"/>
              <a:gd name="connsiteX1" fmla="*/ 3674032 w 3674032"/>
              <a:gd name="connsiteY1" fmla="*/ 0 h 7106038"/>
              <a:gd name="connsiteX2" fmla="*/ 3674032 w 3674032"/>
              <a:gd name="connsiteY2" fmla="*/ 6 h 7106038"/>
              <a:gd name="connsiteX3" fmla="*/ 2450033 w 3674032"/>
              <a:gd name="connsiteY3" fmla="*/ 6872288 h 7106038"/>
              <a:gd name="connsiteX4" fmla="*/ 2450032 w 3674032"/>
              <a:gd name="connsiteY4" fmla="*/ 6872288 h 7106038"/>
              <a:gd name="connsiteX5" fmla="*/ 113 w 3674032"/>
              <a:gd name="connsiteY5" fmla="*/ 6854825 h 7106038"/>
              <a:gd name="connsiteX6" fmla="*/ 2898 w 3674032"/>
              <a:gd name="connsiteY6" fmla="*/ 0 h 7106038"/>
              <a:gd name="connsiteX0" fmla="*/ 2898 w 3674032"/>
              <a:gd name="connsiteY0" fmla="*/ 0 h 7113022"/>
              <a:gd name="connsiteX1" fmla="*/ 3674032 w 3674032"/>
              <a:gd name="connsiteY1" fmla="*/ 0 h 7113022"/>
              <a:gd name="connsiteX2" fmla="*/ 3674032 w 3674032"/>
              <a:gd name="connsiteY2" fmla="*/ 6 h 7113022"/>
              <a:gd name="connsiteX3" fmla="*/ 2450033 w 3674032"/>
              <a:gd name="connsiteY3" fmla="*/ 6872288 h 7113022"/>
              <a:gd name="connsiteX4" fmla="*/ 2450032 w 3674032"/>
              <a:gd name="connsiteY4" fmla="*/ 6872288 h 7113022"/>
              <a:gd name="connsiteX5" fmla="*/ 112 w 3674032"/>
              <a:gd name="connsiteY5" fmla="*/ 6864350 h 7113022"/>
              <a:gd name="connsiteX6" fmla="*/ 2898 w 3674032"/>
              <a:gd name="connsiteY6" fmla="*/ 0 h 7113022"/>
              <a:gd name="connsiteX0" fmla="*/ 2898 w 3674032"/>
              <a:gd name="connsiteY0" fmla="*/ 0 h 6872288"/>
              <a:gd name="connsiteX1" fmla="*/ 3674032 w 3674032"/>
              <a:gd name="connsiteY1" fmla="*/ 0 h 6872288"/>
              <a:gd name="connsiteX2" fmla="*/ 3674032 w 3674032"/>
              <a:gd name="connsiteY2" fmla="*/ 6 h 6872288"/>
              <a:gd name="connsiteX3" fmla="*/ 2450033 w 3674032"/>
              <a:gd name="connsiteY3" fmla="*/ 6872288 h 6872288"/>
              <a:gd name="connsiteX4" fmla="*/ 2450032 w 3674032"/>
              <a:gd name="connsiteY4" fmla="*/ 6872288 h 6872288"/>
              <a:gd name="connsiteX5" fmla="*/ 112 w 3674032"/>
              <a:gd name="connsiteY5" fmla="*/ 6864350 h 6872288"/>
              <a:gd name="connsiteX6" fmla="*/ 2898 w 3674032"/>
              <a:gd name="connsiteY6" fmla="*/ 0 h 6872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74032" h="6872288">
                <a:moveTo>
                  <a:pt x="2898" y="0"/>
                </a:moveTo>
                <a:lnTo>
                  <a:pt x="3674032" y="0"/>
                </a:lnTo>
                <a:lnTo>
                  <a:pt x="3674032" y="6"/>
                </a:lnTo>
                <a:lnTo>
                  <a:pt x="2450033" y="6872288"/>
                </a:lnTo>
                <a:lnTo>
                  <a:pt x="2450032" y="6872288"/>
                </a:lnTo>
                <a:lnTo>
                  <a:pt x="112" y="6864350"/>
                </a:lnTo>
                <a:cubicBezTo>
                  <a:pt x="-760" y="5127625"/>
                  <a:pt x="3770" y="1736725"/>
                  <a:pt x="2898" y="0"/>
                </a:cubicBezTo>
                <a:close/>
              </a:path>
            </a:pathLst>
          </a:custGeom>
          <a:solidFill>
            <a:schemeClr val="accent1">
              <a:alpha val="32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3" name="Textplatzhalter 30">
            <a:extLst>
              <a:ext uri="{FF2B5EF4-FFF2-40B4-BE49-F238E27FC236}">
                <a16:creationId xmlns:a16="http://schemas.microsoft.com/office/drawing/2014/main" id="{523C2387-37A9-49ED-9F11-8B43DFC080A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231904" y="-1"/>
            <a:ext cx="2160000" cy="2780617"/>
          </a:xfrm>
          <a:prstGeom prst="rect">
            <a:avLst/>
          </a:prstGeom>
          <a:solidFill>
            <a:schemeClr val="accent1">
              <a:alpha val="20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1956EDC8-8E27-4364-9986-F8D3E285318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231904" y="-3"/>
            <a:ext cx="1440000" cy="2780619"/>
          </a:xfrm>
          <a:prstGeom prst="rect">
            <a:avLst/>
          </a:prstGeom>
          <a:solidFill>
            <a:schemeClr val="accent1">
              <a:alpha val="46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5" name="Textplatzhalter 32">
            <a:extLst>
              <a:ext uri="{FF2B5EF4-FFF2-40B4-BE49-F238E27FC236}">
                <a16:creationId xmlns:a16="http://schemas.microsoft.com/office/drawing/2014/main" id="{6E46DEAF-EAF5-472E-81D7-CCF04AFFED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232064" y="-1"/>
            <a:ext cx="1440000" cy="2780618"/>
          </a:xfrm>
          <a:custGeom>
            <a:avLst/>
            <a:gdLst>
              <a:gd name="connsiteX0" fmla="*/ 0 w 2598738"/>
              <a:gd name="connsiteY0" fmla="*/ 0 h 6872288"/>
              <a:gd name="connsiteX1" fmla="*/ 2598738 w 2598738"/>
              <a:gd name="connsiteY1" fmla="*/ 0 h 6872288"/>
              <a:gd name="connsiteX2" fmla="*/ 2598738 w 2598738"/>
              <a:gd name="connsiteY2" fmla="*/ 42888 h 6872288"/>
              <a:gd name="connsiteX3" fmla="*/ 3566 w 2598738"/>
              <a:gd name="connsiteY3" fmla="*/ 6872288 h 6872288"/>
              <a:gd name="connsiteX4" fmla="*/ 0 w 2598738"/>
              <a:gd name="connsiteY4" fmla="*/ 6872288 h 6872288"/>
              <a:gd name="connsiteX0" fmla="*/ 0 w 2598738"/>
              <a:gd name="connsiteY0" fmla="*/ 0 h 6872288"/>
              <a:gd name="connsiteX1" fmla="*/ 2598738 w 2598738"/>
              <a:gd name="connsiteY1" fmla="*/ 0 h 6872288"/>
              <a:gd name="connsiteX2" fmla="*/ 3566 w 2598738"/>
              <a:gd name="connsiteY2" fmla="*/ 6872288 h 6872288"/>
              <a:gd name="connsiteX3" fmla="*/ 0 w 2598738"/>
              <a:gd name="connsiteY3" fmla="*/ 6872288 h 6872288"/>
              <a:gd name="connsiteX4" fmla="*/ 0 w 2598738"/>
              <a:gd name="connsiteY4" fmla="*/ 0 h 6872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98738" h="6872288">
                <a:moveTo>
                  <a:pt x="0" y="0"/>
                </a:moveTo>
                <a:lnTo>
                  <a:pt x="2598738" y="0"/>
                </a:lnTo>
                <a:lnTo>
                  <a:pt x="3566" y="6872288"/>
                </a:lnTo>
                <a:lnTo>
                  <a:pt x="0" y="687228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6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6E855957-DE44-4CDE-9FCD-D5DF18FABC56}"/>
              </a:ext>
            </a:extLst>
          </p:cNvPr>
          <p:cNvSpPr/>
          <p:nvPr userDrawn="1"/>
        </p:nvSpPr>
        <p:spPr bwMode="gray">
          <a:xfrm>
            <a:off x="0" y="-1"/>
            <a:ext cx="5256000" cy="27806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noProof="0"/>
          </a:p>
        </p:txBody>
      </p:sp>
      <p:sp>
        <p:nvSpPr>
          <p:cNvPr id="36" name="Textplatzhalter 7">
            <a:extLst>
              <a:ext uri="{FF2B5EF4-FFF2-40B4-BE49-F238E27FC236}">
                <a16:creationId xmlns:a16="http://schemas.microsoft.com/office/drawing/2014/main" id="{4E098FEE-0A30-4982-8FCE-A7561D2709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07368" y="3573016"/>
            <a:ext cx="3168000" cy="93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37" name="Textplatzhalter 7">
            <a:extLst>
              <a:ext uri="{FF2B5EF4-FFF2-40B4-BE49-F238E27FC236}">
                <a16:creationId xmlns:a16="http://schemas.microsoft.com/office/drawing/2014/main" id="{2696D294-12A3-442F-8CC4-9E655211DA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3573016"/>
            <a:ext cx="3168000" cy="93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38" name="Textplatzhalter 7">
            <a:extLst>
              <a:ext uri="{FF2B5EF4-FFF2-40B4-BE49-F238E27FC236}">
                <a16:creationId xmlns:a16="http://schemas.microsoft.com/office/drawing/2014/main" id="{391F01F1-7954-4F1E-AA98-3B544B676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616280" y="3573016"/>
            <a:ext cx="3168000" cy="93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248A1BF3-2933-42DE-9A40-CCAE572913D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07368" y="5373320"/>
            <a:ext cx="3168000" cy="93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3" name="Textplatzhalter 7">
            <a:extLst>
              <a:ext uri="{FF2B5EF4-FFF2-40B4-BE49-F238E27FC236}">
                <a16:creationId xmlns:a16="http://schemas.microsoft.com/office/drawing/2014/main" id="{8A08FBD2-8E3F-4E2F-81F1-0369A5415F4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511824" y="5373320"/>
            <a:ext cx="3168000" cy="93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4" name="Textplatzhalter 7">
            <a:extLst>
              <a:ext uri="{FF2B5EF4-FFF2-40B4-BE49-F238E27FC236}">
                <a16:creationId xmlns:a16="http://schemas.microsoft.com/office/drawing/2014/main" id="{2128C997-D8DA-4C52-9075-CE52DA35ED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8616280" y="5373320"/>
            <a:ext cx="3168000" cy="93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B3563F5-1A71-48CE-8247-FC64946F6D3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07369" y="4869224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87647" y="123901"/>
                </a:moveTo>
                <a:lnTo>
                  <a:pt x="187647" y="209979"/>
                </a:lnTo>
                <a:lnTo>
                  <a:pt x="127874" y="209979"/>
                </a:lnTo>
                <a:close/>
                <a:moveTo>
                  <a:pt x="191945" y="86266"/>
                </a:moveTo>
                <a:lnTo>
                  <a:pt x="104824" y="209979"/>
                </a:lnTo>
                <a:lnTo>
                  <a:pt x="104824" y="231466"/>
                </a:lnTo>
                <a:lnTo>
                  <a:pt x="187647" y="231466"/>
                </a:lnTo>
                <a:lnTo>
                  <a:pt x="187647" y="277175"/>
                </a:lnTo>
                <a:lnTo>
                  <a:pt x="211088" y="277175"/>
                </a:lnTo>
                <a:lnTo>
                  <a:pt x="211088" y="231466"/>
                </a:lnTo>
                <a:lnTo>
                  <a:pt x="236872" y="231466"/>
                </a:lnTo>
                <a:lnTo>
                  <a:pt x="236872" y="209979"/>
                </a:lnTo>
                <a:lnTo>
                  <a:pt x="211088" y="209979"/>
                </a:lnTo>
                <a:lnTo>
                  <a:pt x="211088" y="86266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3E892BF-31D1-47D7-943F-D6B2D1AD89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511824" y="4869264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35127" y="88790"/>
                </a:moveTo>
                <a:lnTo>
                  <a:pt x="116635" y="186850"/>
                </a:lnTo>
                <a:lnTo>
                  <a:pt x="138643" y="189715"/>
                </a:lnTo>
                <a:cubicBezTo>
                  <a:pt x="142116" y="184245"/>
                  <a:pt x="146891" y="179796"/>
                  <a:pt x="152968" y="176367"/>
                </a:cubicBezTo>
                <a:cubicBezTo>
                  <a:pt x="159045" y="172937"/>
                  <a:pt x="165860" y="171223"/>
                  <a:pt x="173413" y="171223"/>
                </a:cubicBezTo>
                <a:cubicBezTo>
                  <a:pt x="185567" y="171223"/>
                  <a:pt x="195399" y="175086"/>
                  <a:pt x="202909" y="182813"/>
                </a:cubicBezTo>
                <a:cubicBezTo>
                  <a:pt x="210418" y="190539"/>
                  <a:pt x="214173" y="201087"/>
                  <a:pt x="214173" y="214457"/>
                </a:cubicBezTo>
                <a:cubicBezTo>
                  <a:pt x="214173" y="228521"/>
                  <a:pt x="210267" y="239808"/>
                  <a:pt x="202453" y="248316"/>
                </a:cubicBezTo>
                <a:cubicBezTo>
                  <a:pt x="194640" y="256824"/>
                  <a:pt x="185090" y="261078"/>
                  <a:pt x="173804" y="261078"/>
                </a:cubicBezTo>
                <a:cubicBezTo>
                  <a:pt x="164427" y="261078"/>
                  <a:pt x="156419" y="258061"/>
                  <a:pt x="149777" y="252027"/>
                </a:cubicBezTo>
                <a:cubicBezTo>
                  <a:pt x="143136" y="245993"/>
                  <a:pt x="138903" y="236986"/>
                  <a:pt x="137080" y="225005"/>
                </a:cubicBezTo>
                <a:lnTo>
                  <a:pt x="112468" y="227089"/>
                </a:lnTo>
                <a:cubicBezTo>
                  <a:pt x="114031" y="243150"/>
                  <a:pt x="120303" y="256042"/>
                  <a:pt x="131285" y="265766"/>
                </a:cubicBezTo>
                <a:cubicBezTo>
                  <a:pt x="142268" y="275489"/>
                  <a:pt x="156440" y="280351"/>
                  <a:pt x="173804" y="280351"/>
                </a:cubicBezTo>
                <a:cubicBezTo>
                  <a:pt x="194987" y="280351"/>
                  <a:pt x="211699" y="272624"/>
                  <a:pt x="223940" y="257171"/>
                </a:cubicBezTo>
                <a:cubicBezTo>
                  <a:pt x="234011" y="244582"/>
                  <a:pt x="239046" y="229650"/>
                  <a:pt x="239046" y="212374"/>
                </a:cubicBezTo>
                <a:cubicBezTo>
                  <a:pt x="239046" y="194229"/>
                  <a:pt x="233316" y="179383"/>
                  <a:pt x="221857" y="167837"/>
                </a:cubicBezTo>
                <a:cubicBezTo>
                  <a:pt x="210397" y="156290"/>
                  <a:pt x="196332" y="150517"/>
                  <a:pt x="179664" y="150517"/>
                </a:cubicBezTo>
                <a:cubicBezTo>
                  <a:pt x="167075" y="150517"/>
                  <a:pt x="155051" y="154510"/>
                  <a:pt x="143592" y="162498"/>
                </a:cubicBezTo>
                <a:lnTo>
                  <a:pt x="153879" y="111189"/>
                </a:lnTo>
                <a:lnTo>
                  <a:pt x="230061" y="111189"/>
                </a:lnTo>
                <a:lnTo>
                  <a:pt x="230061" y="88790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CE645BBE-FA98-499C-8EC9-B62B150467E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616280" y="4869264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6448" y="174037"/>
                </a:moveTo>
                <a:cubicBezTo>
                  <a:pt x="187126" y="174037"/>
                  <a:pt x="195982" y="177836"/>
                  <a:pt x="203014" y="185432"/>
                </a:cubicBezTo>
                <a:cubicBezTo>
                  <a:pt x="210046" y="193028"/>
                  <a:pt x="213562" y="203425"/>
                  <a:pt x="213562" y="216621"/>
                </a:cubicBezTo>
                <a:cubicBezTo>
                  <a:pt x="213562" y="230338"/>
                  <a:pt x="210002" y="241190"/>
                  <a:pt x="202883" y="249177"/>
                </a:cubicBezTo>
                <a:cubicBezTo>
                  <a:pt x="195765" y="257164"/>
                  <a:pt x="187257" y="261158"/>
                  <a:pt x="177359" y="261158"/>
                </a:cubicBezTo>
                <a:cubicBezTo>
                  <a:pt x="170588" y="261158"/>
                  <a:pt x="164120" y="259226"/>
                  <a:pt x="157956" y="255363"/>
                </a:cubicBezTo>
                <a:cubicBezTo>
                  <a:pt x="151792" y="251499"/>
                  <a:pt x="146995" y="245878"/>
                  <a:pt x="143566" y="238499"/>
                </a:cubicBezTo>
                <a:cubicBezTo>
                  <a:pt x="140137" y="231119"/>
                  <a:pt x="138422" y="223392"/>
                  <a:pt x="138422" y="215319"/>
                </a:cubicBezTo>
                <a:cubicBezTo>
                  <a:pt x="138422" y="202991"/>
                  <a:pt x="142112" y="193028"/>
                  <a:pt x="149491" y="185432"/>
                </a:cubicBezTo>
                <a:cubicBezTo>
                  <a:pt x="156871" y="177836"/>
                  <a:pt x="165856" y="174037"/>
                  <a:pt x="176448" y="174037"/>
                </a:cubicBezTo>
                <a:close/>
                <a:moveTo>
                  <a:pt x="179964" y="85485"/>
                </a:moveTo>
                <a:cubicBezTo>
                  <a:pt x="159823" y="85485"/>
                  <a:pt x="143805" y="92777"/>
                  <a:pt x="131911" y="107362"/>
                </a:cubicBezTo>
                <a:cubicBezTo>
                  <a:pt x="118281" y="124118"/>
                  <a:pt x="111466" y="150944"/>
                  <a:pt x="111466" y="187841"/>
                </a:cubicBezTo>
                <a:cubicBezTo>
                  <a:pt x="111466" y="220831"/>
                  <a:pt x="117630" y="244511"/>
                  <a:pt x="129958" y="258879"/>
                </a:cubicBezTo>
                <a:cubicBezTo>
                  <a:pt x="142286" y="273247"/>
                  <a:pt x="158216" y="280431"/>
                  <a:pt x="177750" y="280431"/>
                </a:cubicBezTo>
                <a:cubicBezTo>
                  <a:pt x="189210" y="280431"/>
                  <a:pt x="199454" y="277696"/>
                  <a:pt x="208483" y="272227"/>
                </a:cubicBezTo>
                <a:cubicBezTo>
                  <a:pt x="217512" y="266757"/>
                  <a:pt x="224609" y="258879"/>
                  <a:pt x="229775" y="248591"/>
                </a:cubicBezTo>
                <a:cubicBezTo>
                  <a:pt x="234940" y="238303"/>
                  <a:pt x="237523" y="227169"/>
                  <a:pt x="237523" y="215188"/>
                </a:cubicBezTo>
                <a:cubicBezTo>
                  <a:pt x="237523" y="196957"/>
                  <a:pt x="232032" y="182090"/>
                  <a:pt x="221050" y="170586"/>
                </a:cubicBezTo>
                <a:cubicBezTo>
                  <a:pt x="210068" y="159083"/>
                  <a:pt x="196763" y="153332"/>
                  <a:pt x="181136" y="153332"/>
                </a:cubicBezTo>
                <a:cubicBezTo>
                  <a:pt x="172194" y="153332"/>
                  <a:pt x="163642" y="155415"/>
                  <a:pt x="155482" y="159582"/>
                </a:cubicBezTo>
                <a:cubicBezTo>
                  <a:pt x="147321" y="163750"/>
                  <a:pt x="140419" y="170131"/>
                  <a:pt x="134776" y="178725"/>
                </a:cubicBezTo>
                <a:cubicBezTo>
                  <a:pt x="134950" y="159626"/>
                  <a:pt x="137163" y="144910"/>
                  <a:pt x="141417" y="134579"/>
                </a:cubicBezTo>
                <a:cubicBezTo>
                  <a:pt x="145671" y="124248"/>
                  <a:pt x="151488" y="116391"/>
                  <a:pt x="158868" y="111009"/>
                </a:cubicBezTo>
                <a:cubicBezTo>
                  <a:pt x="164511" y="106841"/>
                  <a:pt x="171065" y="104758"/>
                  <a:pt x="178531" y="104758"/>
                </a:cubicBezTo>
                <a:cubicBezTo>
                  <a:pt x="187821" y="104758"/>
                  <a:pt x="195634" y="108100"/>
                  <a:pt x="201972" y="114785"/>
                </a:cubicBezTo>
                <a:cubicBezTo>
                  <a:pt x="205792" y="118952"/>
                  <a:pt x="208744" y="125637"/>
                  <a:pt x="210827" y="134840"/>
                </a:cubicBezTo>
                <a:lnTo>
                  <a:pt x="234137" y="133017"/>
                </a:lnTo>
                <a:cubicBezTo>
                  <a:pt x="232227" y="118171"/>
                  <a:pt x="226476" y="106538"/>
                  <a:pt x="216883" y="98116"/>
                </a:cubicBezTo>
                <a:cubicBezTo>
                  <a:pt x="207289" y="89695"/>
                  <a:pt x="194983" y="85485"/>
                  <a:pt x="179964" y="8548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49" name="Titel 1">
            <a:extLst>
              <a:ext uri="{FF2B5EF4-FFF2-40B4-BE49-F238E27FC236}">
                <a16:creationId xmlns:a16="http://schemas.microsoft.com/office/drawing/2014/main" id="{23E1E2F0-5E01-4C12-AB4D-D95130DF71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64700"/>
            <a:ext cx="4536504" cy="1619964"/>
          </a:xfrm>
        </p:spPr>
        <p:txBody>
          <a:bodyPr anchor="b" anchorCtr="0"/>
          <a:lstStyle>
            <a:lvl1pPr>
              <a:lnSpc>
                <a:spcPct val="100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he title of the presentation</a:t>
            </a:r>
          </a:p>
        </p:txBody>
      </p:sp>
      <p:sp>
        <p:nvSpPr>
          <p:cNvPr id="56" name="Textplatzhalter 9">
            <a:extLst>
              <a:ext uri="{FF2B5EF4-FFF2-40B4-BE49-F238E27FC236}">
                <a16:creationId xmlns:a16="http://schemas.microsoft.com/office/drawing/2014/main" id="{F4BD268A-CADD-42F2-9EA0-C3762304928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07368" y="404664"/>
            <a:ext cx="215900" cy="216000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CE3FB1D9-3001-4291-8F1A-DB4EC1EE3D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348" y="3068980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85674" y="85465"/>
                </a:moveTo>
                <a:cubicBezTo>
                  <a:pt x="181593" y="93712"/>
                  <a:pt x="174648" y="102220"/>
                  <a:pt x="164838" y="110989"/>
                </a:cubicBezTo>
                <a:cubicBezTo>
                  <a:pt x="155028" y="119757"/>
                  <a:pt x="143568" y="127223"/>
                  <a:pt x="130459" y="133387"/>
                </a:cubicBezTo>
                <a:lnTo>
                  <a:pt x="130459" y="156046"/>
                </a:lnTo>
                <a:cubicBezTo>
                  <a:pt x="137751" y="153355"/>
                  <a:pt x="145977" y="149318"/>
                  <a:pt x="155136" y="143935"/>
                </a:cubicBezTo>
                <a:cubicBezTo>
                  <a:pt x="164295" y="138553"/>
                  <a:pt x="171696" y="133170"/>
                  <a:pt x="177339" y="127787"/>
                </a:cubicBezTo>
                <a:lnTo>
                  <a:pt x="177339" y="277155"/>
                </a:lnTo>
                <a:lnTo>
                  <a:pt x="200780" y="277155"/>
                </a:lnTo>
                <a:lnTo>
                  <a:pt x="200780" y="85465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3" name="Textplatzhalter 31">
            <a:extLst>
              <a:ext uri="{FF2B5EF4-FFF2-40B4-BE49-F238E27FC236}">
                <a16:creationId xmlns:a16="http://schemas.microsoft.com/office/drawing/2014/main" id="{711591BD-E95C-464D-8A40-4225EA24EE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844" y="3068980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5907" y="85465"/>
                </a:moveTo>
                <a:cubicBezTo>
                  <a:pt x="157763" y="85465"/>
                  <a:pt x="143308" y="90174"/>
                  <a:pt x="132542" y="99594"/>
                </a:cubicBezTo>
                <a:cubicBezTo>
                  <a:pt x="121777" y="109013"/>
                  <a:pt x="115570" y="122709"/>
                  <a:pt x="113920" y="140680"/>
                </a:cubicBezTo>
                <a:lnTo>
                  <a:pt x="138012" y="143154"/>
                </a:lnTo>
                <a:cubicBezTo>
                  <a:pt x="138099" y="131173"/>
                  <a:pt x="141528" y="121797"/>
                  <a:pt x="148300" y="115025"/>
                </a:cubicBezTo>
                <a:cubicBezTo>
                  <a:pt x="155071" y="108254"/>
                  <a:pt x="164100" y="104868"/>
                  <a:pt x="175386" y="104868"/>
                </a:cubicBezTo>
                <a:cubicBezTo>
                  <a:pt x="186065" y="104868"/>
                  <a:pt x="194725" y="108058"/>
                  <a:pt x="201366" y="114439"/>
                </a:cubicBezTo>
                <a:cubicBezTo>
                  <a:pt x="208008" y="120820"/>
                  <a:pt x="211328" y="128656"/>
                  <a:pt x="211328" y="137945"/>
                </a:cubicBezTo>
                <a:cubicBezTo>
                  <a:pt x="211328" y="146800"/>
                  <a:pt x="207682" y="156198"/>
                  <a:pt x="200389" y="166139"/>
                </a:cubicBezTo>
                <a:cubicBezTo>
                  <a:pt x="193097" y="176079"/>
                  <a:pt x="179076" y="189557"/>
                  <a:pt x="158327" y="206573"/>
                </a:cubicBezTo>
                <a:cubicBezTo>
                  <a:pt x="144957" y="217512"/>
                  <a:pt x="134735" y="227149"/>
                  <a:pt x="127659" y="235483"/>
                </a:cubicBezTo>
                <a:cubicBezTo>
                  <a:pt x="120583" y="243818"/>
                  <a:pt x="115440" y="252282"/>
                  <a:pt x="112227" y="260877"/>
                </a:cubicBezTo>
                <a:cubicBezTo>
                  <a:pt x="110231" y="266086"/>
                  <a:pt x="109319" y="271512"/>
                  <a:pt x="109493" y="277155"/>
                </a:cubicBezTo>
                <a:lnTo>
                  <a:pt x="235680" y="277155"/>
                </a:lnTo>
                <a:lnTo>
                  <a:pt x="235680" y="254626"/>
                </a:lnTo>
                <a:lnTo>
                  <a:pt x="142049" y="254626"/>
                </a:lnTo>
                <a:cubicBezTo>
                  <a:pt x="144653" y="250372"/>
                  <a:pt x="147952" y="246140"/>
                  <a:pt x="151946" y="241929"/>
                </a:cubicBezTo>
                <a:cubicBezTo>
                  <a:pt x="155939" y="237719"/>
                  <a:pt x="164968" y="229710"/>
                  <a:pt x="179033" y="217903"/>
                </a:cubicBezTo>
                <a:cubicBezTo>
                  <a:pt x="195875" y="203665"/>
                  <a:pt x="207921" y="192466"/>
                  <a:pt x="215170" y="184305"/>
                </a:cubicBezTo>
                <a:cubicBezTo>
                  <a:pt x="222419" y="176144"/>
                  <a:pt x="227606" y="168374"/>
                  <a:pt x="230732" y="160995"/>
                </a:cubicBezTo>
                <a:cubicBezTo>
                  <a:pt x="233857" y="153615"/>
                  <a:pt x="235420" y="146106"/>
                  <a:pt x="235420" y="138466"/>
                </a:cubicBezTo>
                <a:cubicBezTo>
                  <a:pt x="235420" y="123447"/>
                  <a:pt x="230081" y="110858"/>
                  <a:pt x="219402" y="100701"/>
                </a:cubicBezTo>
                <a:cubicBezTo>
                  <a:pt x="208724" y="90543"/>
                  <a:pt x="194225" y="85465"/>
                  <a:pt x="175907" y="8546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5" name="Textplatzhalter 33">
            <a:extLst>
              <a:ext uri="{FF2B5EF4-FFF2-40B4-BE49-F238E27FC236}">
                <a16:creationId xmlns:a16="http://schemas.microsoft.com/office/drawing/2014/main" id="{984161AE-E8BB-4BD1-AB4F-EB402EB5F63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616280" y="3068960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2371" y="85485"/>
                </a:moveTo>
                <a:cubicBezTo>
                  <a:pt x="157265" y="85485"/>
                  <a:pt x="144633" y="89804"/>
                  <a:pt x="134476" y="98442"/>
                </a:cubicBezTo>
                <a:cubicBezTo>
                  <a:pt x="124318" y="107080"/>
                  <a:pt x="117807" y="119256"/>
                  <a:pt x="114942" y="134970"/>
                </a:cubicBezTo>
                <a:lnTo>
                  <a:pt x="138382" y="139137"/>
                </a:lnTo>
                <a:cubicBezTo>
                  <a:pt x="140119" y="127677"/>
                  <a:pt x="144025" y="119082"/>
                  <a:pt x="150102" y="113353"/>
                </a:cubicBezTo>
                <a:cubicBezTo>
                  <a:pt x="156180" y="107623"/>
                  <a:pt x="163776" y="104758"/>
                  <a:pt x="172892" y="104758"/>
                </a:cubicBezTo>
                <a:cubicBezTo>
                  <a:pt x="182094" y="104758"/>
                  <a:pt x="189604" y="107579"/>
                  <a:pt x="195421" y="113222"/>
                </a:cubicBezTo>
                <a:cubicBezTo>
                  <a:pt x="201237" y="118865"/>
                  <a:pt x="204146" y="125984"/>
                  <a:pt x="204146" y="134579"/>
                </a:cubicBezTo>
                <a:cubicBezTo>
                  <a:pt x="204146" y="145431"/>
                  <a:pt x="200152" y="153462"/>
                  <a:pt x="192165" y="158671"/>
                </a:cubicBezTo>
                <a:cubicBezTo>
                  <a:pt x="184178" y="163880"/>
                  <a:pt x="175192" y="166484"/>
                  <a:pt x="165209" y="166484"/>
                </a:cubicBezTo>
                <a:cubicBezTo>
                  <a:pt x="164254" y="166484"/>
                  <a:pt x="162995" y="166397"/>
                  <a:pt x="161432" y="166224"/>
                </a:cubicBezTo>
                <a:lnTo>
                  <a:pt x="158828" y="186799"/>
                </a:lnTo>
                <a:cubicBezTo>
                  <a:pt x="165426" y="185063"/>
                  <a:pt x="170938" y="184195"/>
                  <a:pt x="175366" y="184195"/>
                </a:cubicBezTo>
                <a:cubicBezTo>
                  <a:pt x="186218" y="184195"/>
                  <a:pt x="195160" y="187689"/>
                  <a:pt x="202192" y="194678"/>
                </a:cubicBezTo>
                <a:cubicBezTo>
                  <a:pt x="209224" y="201667"/>
                  <a:pt x="212741" y="210544"/>
                  <a:pt x="212741" y="221309"/>
                </a:cubicBezTo>
                <a:cubicBezTo>
                  <a:pt x="212741" y="232595"/>
                  <a:pt x="208942" y="242058"/>
                  <a:pt x="201346" y="249698"/>
                </a:cubicBezTo>
                <a:cubicBezTo>
                  <a:pt x="193749" y="257338"/>
                  <a:pt x="184438" y="261158"/>
                  <a:pt x="173413" y="261158"/>
                </a:cubicBezTo>
                <a:cubicBezTo>
                  <a:pt x="164123" y="261158"/>
                  <a:pt x="156245" y="258227"/>
                  <a:pt x="149777" y="252367"/>
                </a:cubicBezTo>
                <a:cubicBezTo>
                  <a:pt x="143309" y="246507"/>
                  <a:pt x="138730" y="236936"/>
                  <a:pt x="136038" y="223653"/>
                </a:cubicBezTo>
                <a:lnTo>
                  <a:pt x="112598" y="226778"/>
                </a:lnTo>
                <a:cubicBezTo>
                  <a:pt x="114161" y="242666"/>
                  <a:pt x="120476" y="255601"/>
                  <a:pt x="131546" y="265585"/>
                </a:cubicBezTo>
                <a:cubicBezTo>
                  <a:pt x="142615" y="275569"/>
                  <a:pt x="156527" y="280561"/>
                  <a:pt x="173282" y="280561"/>
                </a:cubicBezTo>
                <a:cubicBezTo>
                  <a:pt x="191861" y="280561"/>
                  <a:pt x="207228" y="274766"/>
                  <a:pt x="219382" y="263176"/>
                </a:cubicBezTo>
                <a:cubicBezTo>
                  <a:pt x="231536" y="251586"/>
                  <a:pt x="237613" y="237457"/>
                  <a:pt x="237613" y="220788"/>
                </a:cubicBezTo>
                <a:cubicBezTo>
                  <a:pt x="237613" y="208460"/>
                  <a:pt x="234488" y="198194"/>
                  <a:pt x="228237" y="189990"/>
                </a:cubicBezTo>
                <a:cubicBezTo>
                  <a:pt x="221986" y="181786"/>
                  <a:pt x="213218" y="176381"/>
                  <a:pt x="201932" y="173777"/>
                </a:cubicBezTo>
                <a:cubicBezTo>
                  <a:pt x="210614" y="169783"/>
                  <a:pt x="217168" y="164401"/>
                  <a:pt x="221596" y="157629"/>
                </a:cubicBezTo>
                <a:cubicBezTo>
                  <a:pt x="226023" y="150857"/>
                  <a:pt x="228237" y="143348"/>
                  <a:pt x="228237" y="135100"/>
                </a:cubicBezTo>
                <a:cubicBezTo>
                  <a:pt x="228237" y="126418"/>
                  <a:pt x="225915" y="118214"/>
                  <a:pt x="221270" y="110488"/>
                </a:cubicBezTo>
                <a:cubicBezTo>
                  <a:pt x="216626" y="102761"/>
                  <a:pt x="209919" y="96662"/>
                  <a:pt x="201151" y="92191"/>
                </a:cubicBezTo>
                <a:cubicBezTo>
                  <a:pt x="192382" y="87720"/>
                  <a:pt x="182789" y="85485"/>
                  <a:pt x="172371" y="8548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2624908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3B140A39-527A-45CF-A911-B921024B9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7EF156B-ABD0-4789-83F1-51E686581D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8126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1556915"/>
            <a:ext cx="5472000" cy="482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3B140A39-527A-45CF-A911-B921024B9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3AFD8-5FF3-478A-90C4-E2B75445371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2632" y="1557328"/>
            <a:ext cx="5472000" cy="482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CDAB22B-4654-4B5B-A359-3026A5D5754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645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  <p15:guide id="2" pos="3976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1557328"/>
            <a:ext cx="3528000" cy="482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3B140A39-527A-45CF-A911-B921024B9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3AFD8-5FF3-478A-90C4-E2B75445371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296216" y="1557328"/>
            <a:ext cx="3600000" cy="482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7EAB4C6-5D44-4E06-8CE0-3E354C13AD53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8256648" y="1557328"/>
            <a:ext cx="3528000" cy="482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F1C2510-CD90-4B63-B9D4-7928C936AD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810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479" userDrawn="1">
          <p15:clr>
            <a:srgbClr val="FBAE40"/>
          </p15:clr>
        </p15:guide>
        <p15:guide id="4" pos="2706" userDrawn="1">
          <p15:clr>
            <a:srgbClr val="FBAE40"/>
          </p15:clr>
        </p15:guide>
        <p15:guide id="5" pos="4974" userDrawn="1">
          <p15:clr>
            <a:srgbClr val="FBAE40"/>
          </p15:clr>
        </p15:guide>
        <p15:guide id="6" pos="5201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+ three 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1556792"/>
            <a:ext cx="3528000" cy="36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3AFD8-5FF3-478A-90C4-E2B75445371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296192" y="1556792"/>
            <a:ext cx="3600000" cy="36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7EAB4C6-5D44-4E06-8CE0-3E354C13AD53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8256632" y="1556792"/>
            <a:ext cx="3528000" cy="36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BAAF67-105C-4D80-8280-653A329FDE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859" y="5372534"/>
            <a:ext cx="3528000" cy="1008000"/>
          </a:xfrm>
          <a:prstGeom prst="roundRect">
            <a:avLst>
              <a:gd name="adj" fmla="val 5880"/>
            </a:avLst>
          </a:prstGeom>
          <a:solidFill>
            <a:schemeClr val="accent1"/>
          </a:solidFill>
        </p:spPr>
        <p:txBody>
          <a:bodyPr lIns="108000" tIns="72000" rIns="648000" bIns="72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 conclusion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9A48053A-DE3C-4A86-A5D0-44B5AAFC5E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296200" y="5372931"/>
            <a:ext cx="3600000" cy="1008000"/>
          </a:xfrm>
          <a:prstGeom prst="roundRect">
            <a:avLst>
              <a:gd name="adj" fmla="val 5880"/>
            </a:avLst>
          </a:prstGeom>
          <a:solidFill>
            <a:schemeClr val="accent1"/>
          </a:solidFill>
        </p:spPr>
        <p:txBody>
          <a:bodyPr lIns="108000" tIns="72000" rIns="648000" bIns="72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 conclusion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A6574D81-C909-4937-AD9A-C2622257264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256632" y="5373328"/>
            <a:ext cx="3528000" cy="1008000"/>
          </a:xfrm>
          <a:prstGeom prst="roundRect">
            <a:avLst>
              <a:gd name="adj" fmla="val 5880"/>
            </a:avLst>
          </a:prstGeom>
          <a:solidFill>
            <a:schemeClr val="accent1"/>
          </a:solidFill>
        </p:spPr>
        <p:txBody>
          <a:bodyPr lIns="108000" tIns="72000" rIns="648000" bIns="72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 conclusi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1CC0DD43-95D6-42EE-B328-0CE023A73A8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431704" y="5517272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0973" y="230510"/>
                </a:moveTo>
                <a:lnTo>
                  <a:pt x="170973" y="261875"/>
                </a:lnTo>
                <a:lnTo>
                  <a:pt x="202338" y="261875"/>
                </a:lnTo>
                <a:lnTo>
                  <a:pt x="202338" y="230510"/>
                </a:lnTo>
                <a:close/>
                <a:moveTo>
                  <a:pt x="169633" y="98239"/>
                </a:moveTo>
                <a:lnTo>
                  <a:pt x="169633" y="136636"/>
                </a:lnTo>
                <a:lnTo>
                  <a:pt x="177782" y="219682"/>
                </a:lnTo>
                <a:lnTo>
                  <a:pt x="195530" y="219682"/>
                </a:lnTo>
                <a:lnTo>
                  <a:pt x="203566" y="136636"/>
                </a:lnTo>
                <a:lnTo>
                  <a:pt x="203566" y="98239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5670444-485C-4BE0-A354-91B0686EF38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44EA50C7-93FB-484E-80A3-8425C2AFB52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392184" y="5517272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0973" y="230510"/>
                </a:moveTo>
                <a:lnTo>
                  <a:pt x="170973" y="261875"/>
                </a:lnTo>
                <a:lnTo>
                  <a:pt x="202338" y="261875"/>
                </a:lnTo>
                <a:lnTo>
                  <a:pt x="202338" y="230510"/>
                </a:lnTo>
                <a:close/>
                <a:moveTo>
                  <a:pt x="169633" y="98239"/>
                </a:moveTo>
                <a:lnTo>
                  <a:pt x="169633" y="136636"/>
                </a:lnTo>
                <a:lnTo>
                  <a:pt x="177782" y="219682"/>
                </a:lnTo>
                <a:lnTo>
                  <a:pt x="195530" y="219682"/>
                </a:lnTo>
                <a:lnTo>
                  <a:pt x="203566" y="136636"/>
                </a:lnTo>
                <a:lnTo>
                  <a:pt x="203566" y="98239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4B17601A-47BC-46EA-BD01-C3C3425546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1280576" y="5517272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0973" y="230510"/>
                </a:moveTo>
                <a:lnTo>
                  <a:pt x="170973" y="261875"/>
                </a:lnTo>
                <a:lnTo>
                  <a:pt x="202338" y="261875"/>
                </a:lnTo>
                <a:lnTo>
                  <a:pt x="202338" y="230510"/>
                </a:lnTo>
                <a:close/>
                <a:moveTo>
                  <a:pt x="169633" y="98239"/>
                </a:moveTo>
                <a:lnTo>
                  <a:pt x="169633" y="136636"/>
                </a:lnTo>
                <a:lnTo>
                  <a:pt x="177782" y="219682"/>
                </a:lnTo>
                <a:lnTo>
                  <a:pt x="195530" y="219682"/>
                </a:lnTo>
                <a:lnTo>
                  <a:pt x="203566" y="136636"/>
                </a:lnTo>
                <a:lnTo>
                  <a:pt x="203566" y="98239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50439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479" userDrawn="1">
          <p15:clr>
            <a:srgbClr val="FBAE40"/>
          </p15:clr>
        </p15:guide>
        <p15:guide id="4" pos="2706" userDrawn="1">
          <p15:clr>
            <a:srgbClr val="FBAE40"/>
          </p15:clr>
        </p15:guide>
        <p15:guide id="5" pos="4974" userDrawn="1">
          <p15:clr>
            <a:srgbClr val="FBAE40"/>
          </p15:clr>
        </p15:guide>
        <p15:guide id="6" pos="5201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2709328"/>
            <a:ext cx="2520000" cy="36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3AFD8-5FF3-478A-90C4-E2B75445371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3358934" y="2709328"/>
            <a:ext cx="2520000" cy="36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7EAB4C6-5D44-4E06-8CE0-3E354C13AD53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6311262" y="2709328"/>
            <a:ext cx="2520000" cy="36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34AEE64C-E843-4352-9F81-8DAA088EB7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264352" y="1556766"/>
            <a:ext cx="2520000" cy="4824000"/>
          </a:xfrm>
          <a:prstGeom prst="roundRect">
            <a:avLst>
              <a:gd name="adj" fmla="val 4643"/>
            </a:avLst>
          </a:prstGeom>
          <a:solidFill>
            <a:schemeClr val="accent1"/>
          </a:solidFill>
        </p:spPr>
        <p:txBody>
          <a:bodyPr lIns="108000" tIns="72000" rIns="108000" bIns="72000" anchor="ctr"/>
          <a:lstStyle>
            <a:lvl1pPr marL="0" indent="0"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2pPr>
            <a:lvl3pPr marL="0" indent="0">
              <a:buNone/>
              <a:defRPr sz="2800"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4pPr>
            <a:lvl5pPr marL="0" indent="0">
              <a:buNone/>
              <a:defRPr sz="2800" b="1">
                <a:solidFill>
                  <a:schemeClr val="bg1"/>
                </a:solidFill>
              </a:defRPr>
            </a:lvl5pPr>
            <a:lvl6pPr marL="0" indent="0">
              <a:buNone/>
              <a:defRPr sz="2800" b="1">
                <a:solidFill>
                  <a:schemeClr val="bg1"/>
                </a:solidFill>
              </a:defRPr>
            </a:lvl6pPr>
            <a:lvl7pPr marL="0" indent="0">
              <a:buNone/>
              <a:defRPr sz="2800" b="1">
                <a:solidFill>
                  <a:schemeClr val="bg1"/>
                </a:solidFill>
              </a:defRPr>
            </a:lvl7pPr>
            <a:lvl8pPr marL="0" indent="0">
              <a:buNone/>
              <a:defRPr sz="2800" b="1">
                <a:solidFill>
                  <a:schemeClr val="bg1"/>
                </a:solidFill>
              </a:defRPr>
            </a:lvl8pPr>
            <a:lvl9pPr marL="0" indent="0">
              <a:buNone/>
              <a:defRPr sz="2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 conclusio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D593ED01-5E1F-424D-8E62-C67E205635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07988" y="1556792"/>
            <a:ext cx="2520000" cy="97155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600" b="1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600" b="1">
                <a:solidFill>
                  <a:schemeClr val="accent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E67A4C0E-DB9D-4694-B5E7-69AE776260B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359976" y="1556817"/>
            <a:ext cx="2520000" cy="97155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600" b="1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600" b="1">
                <a:solidFill>
                  <a:schemeClr val="accent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4388F102-CD25-4A51-B32E-69F597E09D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311262" y="1556817"/>
            <a:ext cx="2520000" cy="971550"/>
          </a:xfrm>
        </p:spPr>
        <p:txBody>
          <a:bodyPr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600" b="1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8A44D674-4F8F-4C4D-9409-846336D2380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07988" y="2546904"/>
            <a:ext cx="2520000" cy="18000"/>
          </a:xfrm>
          <a:solidFill>
            <a:schemeClr val="accent1"/>
          </a:solidFill>
          <a:ln>
            <a:noFill/>
          </a:ln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7B44E8C3-302C-4117-A4BE-81601FD1AE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359976" y="2546904"/>
            <a:ext cx="2520000" cy="18000"/>
          </a:xfrm>
          <a:solidFill>
            <a:schemeClr val="accent1"/>
          </a:solidFill>
          <a:ln>
            <a:noFill/>
          </a:ln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181552F9-53D1-4345-94C5-9FB68BDE30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312304" y="2546904"/>
            <a:ext cx="2520000" cy="18000"/>
          </a:xfrm>
          <a:solidFill>
            <a:schemeClr val="accent1"/>
          </a:solidFill>
          <a:ln>
            <a:noFill/>
          </a:ln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F62B44-2FA7-45C4-A21E-5B9640BD370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05EA0A7-EF81-4830-A3CB-316F08A491D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280576" y="1700822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0973" y="230510"/>
                </a:moveTo>
                <a:lnTo>
                  <a:pt x="170973" y="261875"/>
                </a:lnTo>
                <a:lnTo>
                  <a:pt x="202338" y="261875"/>
                </a:lnTo>
                <a:lnTo>
                  <a:pt x="202338" y="230510"/>
                </a:lnTo>
                <a:close/>
                <a:moveTo>
                  <a:pt x="169633" y="98239"/>
                </a:moveTo>
                <a:lnTo>
                  <a:pt x="169633" y="136636"/>
                </a:lnTo>
                <a:lnTo>
                  <a:pt x="177782" y="219682"/>
                </a:lnTo>
                <a:lnTo>
                  <a:pt x="195530" y="219682"/>
                </a:lnTo>
                <a:lnTo>
                  <a:pt x="203566" y="136636"/>
                </a:lnTo>
                <a:lnTo>
                  <a:pt x="203566" y="98239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813327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1844" userDrawn="1">
          <p15:clr>
            <a:srgbClr val="FBAE40"/>
          </p15:clr>
        </p15:guide>
        <p15:guide id="4" pos="2116" userDrawn="1">
          <p15:clr>
            <a:srgbClr val="FBAE40"/>
          </p15:clr>
        </p15:guide>
        <p15:guide id="5" pos="3704" userDrawn="1">
          <p15:clr>
            <a:srgbClr val="FBAE40"/>
          </p15:clr>
        </p15:guide>
        <p15:guide id="6" pos="3976" userDrawn="1">
          <p15:clr>
            <a:srgbClr val="FBAE40"/>
          </p15:clr>
        </p15:guide>
        <p15:guide id="7" pos="5564" userDrawn="1">
          <p15:clr>
            <a:srgbClr val="FBAE40"/>
          </p15:clr>
        </p15:guide>
        <p15:guide id="8" pos="5836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1557328"/>
            <a:ext cx="2520000" cy="482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3AFD8-5FF3-478A-90C4-E2B75445371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3359976" y="1557328"/>
            <a:ext cx="2520000" cy="482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7EAB4C6-5D44-4E06-8CE0-3E354C13AD53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6312304" y="1557328"/>
            <a:ext cx="2520000" cy="482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E3BA2021-D33F-458C-BDBB-FFAE6223488E}"/>
              </a:ext>
            </a:extLst>
          </p:cNvPr>
          <p:cNvSpPr>
            <a:spLocks noGrp="1"/>
          </p:cNvSpPr>
          <p:nvPr>
            <p:ph idx="15" hasCustomPrompt="1"/>
          </p:nvPr>
        </p:nvSpPr>
        <p:spPr bwMode="gray">
          <a:xfrm>
            <a:off x="9264632" y="1557328"/>
            <a:ext cx="2520000" cy="482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D78A5F6-7BA2-4A48-B255-7F2139D9FFC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603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  <p15:guide id="2" pos="3976" userDrawn="1">
          <p15:clr>
            <a:srgbClr val="FBAE40"/>
          </p15:clr>
        </p15:guide>
        <p15:guide id="3" pos="1844" userDrawn="1">
          <p15:clr>
            <a:srgbClr val="FBAE40"/>
          </p15:clr>
        </p15:guide>
        <p15:guide id="4" pos="2116" userDrawn="1">
          <p15:clr>
            <a:srgbClr val="FBAE40"/>
          </p15:clr>
        </p15:guide>
        <p15:guide id="5" pos="5564" userDrawn="1">
          <p15:clr>
            <a:srgbClr val="FBAE40"/>
          </p15:clr>
        </p15:guide>
        <p15:guide id="6" pos="5836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+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2331C1-F248-4F9A-B913-1ECF64853F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8DEEAD-C858-4DE2-9E16-7D3D41A4D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C:\Users\bandelow\Desktop\Zeug\Monitore_Laptop.png">
            <a:extLst>
              <a:ext uri="{FF2B5EF4-FFF2-40B4-BE49-F238E27FC236}">
                <a16:creationId xmlns:a16="http://schemas.microsoft.com/office/drawing/2014/main" id="{CE422849-FBC9-487B-ABCA-17B8177EA7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479426" y="1556856"/>
            <a:ext cx="7712574" cy="4824472"/>
          </a:xfrm>
          <a:prstGeom prst="rect">
            <a:avLst/>
          </a:prstGeom>
          <a:noFill/>
          <a:effectLst>
            <a:outerShdw blurRad="50800" dist="88900" dir="5400000" sx="99000" sy="99000" algn="t" rotWithShape="0">
              <a:prstClr val="black">
                <a:alpha val="3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Bildplatzhalter 26">
            <a:extLst>
              <a:ext uri="{FF2B5EF4-FFF2-40B4-BE49-F238E27FC236}">
                <a16:creationId xmlns:a16="http://schemas.microsoft.com/office/drawing/2014/main" id="{7C824190-9AD9-4367-8086-8CCC2E54D07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505450" y="1898286"/>
            <a:ext cx="6336000" cy="3924000"/>
          </a:xfrm>
          <a:solidFill>
            <a:schemeClr val="accent3"/>
          </a:solidFill>
          <a:ln>
            <a:noFill/>
          </a:ln>
        </p:spPr>
        <p:txBody>
          <a:bodyPr tIns="165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screenshot click the icon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1FD488FB-8431-4D70-A49F-A7D3FB0B81CF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1556856"/>
            <a:ext cx="3528000" cy="36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300D3C2B-7C8F-4158-AD1F-472C48DAD1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859" y="5372598"/>
            <a:ext cx="3528000" cy="1008000"/>
          </a:xfrm>
          <a:prstGeom prst="roundRect">
            <a:avLst>
              <a:gd name="adj" fmla="val 5880"/>
            </a:avLst>
          </a:prstGeom>
          <a:solidFill>
            <a:schemeClr val="accent1"/>
          </a:solidFill>
        </p:spPr>
        <p:txBody>
          <a:bodyPr lIns="108000" tIns="72000" rIns="648000" bIns="72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 conclus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799FD28-8A04-451F-8481-7F33C50A752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7888654-2840-4418-BB9C-CE0F907B25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431704" y="5517336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0973" y="230510"/>
                </a:moveTo>
                <a:lnTo>
                  <a:pt x="170973" y="261875"/>
                </a:lnTo>
                <a:lnTo>
                  <a:pt x="202338" y="261875"/>
                </a:lnTo>
                <a:lnTo>
                  <a:pt x="202338" y="230510"/>
                </a:lnTo>
                <a:close/>
                <a:moveTo>
                  <a:pt x="169633" y="98239"/>
                </a:moveTo>
                <a:lnTo>
                  <a:pt x="169633" y="136636"/>
                </a:lnTo>
                <a:lnTo>
                  <a:pt x="177782" y="219682"/>
                </a:lnTo>
                <a:lnTo>
                  <a:pt x="195530" y="219682"/>
                </a:lnTo>
                <a:lnTo>
                  <a:pt x="203566" y="136636"/>
                </a:lnTo>
                <a:lnTo>
                  <a:pt x="203566" y="98239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1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697372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BAE40"/>
          </p15:clr>
        </p15:guide>
        <p15:guide id="2" pos="2706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1557328"/>
            <a:ext cx="5472000" cy="482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Bildplatzhalter 26">
            <a:extLst>
              <a:ext uri="{FF2B5EF4-FFF2-40B4-BE49-F238E27FC236}">
                <a16:creationId xmlns:a16="http://schemas.microsoft.com/office/drawing/2014/main" id="{0EB1F704-9760-4817-8CE5-8565D533784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312640" y="0"/>
            <a:ext cx="5879360" cy="6858000"/>
          </a:xfrm>
          <a:solidFill>
            <a:schemeClr val="accent3"/>
          </a:solidFill>
        </p:spPr>
        <p:txBody>
          <a:bodyPr tIns="327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530380-BC69-4D52-8EE4-250AB21371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692696"/>
            <a:ext cx="5472000" cy="64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B5AD63C-F78D-41D0-BEC5-55935112CA3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0031412" y="719"/>
            <a:ext cx="2160588" cy="6857999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787AB45C-ED76-42BE-B6E6-A0485E00BD4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0031412" y="0"/>
            <a:ext cx="2160588" cy="6857999"/>
          </a:xfrm>
          <a:custGeom>
            <a:avLst/>
            <a:gdLst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0 w 2160588"/>
              <a:gd name="connsiteY4" fmla="*/ 264906 h 6191250"/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320479 w 2160588"/>
              <a:gd name="connsiteY4" fmla="*/ 0 h 6191250"/>
              <a:gd name="connsiteX0" fmla="*/ 730054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730054 w 2160588"/>
              <a:gd name="connsiteY4" fmla="*/ 0 h 6191250"/>
              <a:gd name="connsiteX0" fmla="*/ 72052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720529 w 2160588"/>
              <a:gd name="connsiteY4" fmla="*/ 0 h 619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588" h="6191250">
                <a:moveTo>
                  <a:pt x="720529" y="0"/>
                </a:moveTo>
                <a:lnTo>
                  <a:pt x="2160588" y="0"/>
                </a:lnTo>
                <a:lnTo>
                  <a:pt x="2160588" y="6191250"/>
                </a:lnTo>
                <a:lnTo>
                  <a:pt x="0" y="6191250"/>
                </a:lnTo>
                <a:lnTo>
                  <a:pt x="720529" y="0"/>
                </a:lnTo>
                <a:close/>
              </a:path>
            </a:pathLst>
          </a:custGeom>
          <a:solidFill>
            <a:schemeClr val="accent1">
              <a:alpha val="6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C780974E-4FC9-4B48-84D2-47CE1BA46FD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0751452" y="0"/>
            <a:ext cx="1440548" cy="6857999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0B0423C0-E70E-4243-BD1A-2255E1A317F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0751442" y="0"/>
            <a:ext cx="1440558" cy="6857999"/>
          </a:xfrm>
          <a:custGeom>
            <a:avLst/>
            <a:gdLst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0 w 2160588"/>
              <a:gd name="connsiteY4" fmla="*/ 264906 h 6191250"/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320479 w 2160588"/>
              <a:gd name="connsiteY4" fmla="*/ 0 h 6191250"/>
              <a:gd name="connsiteX0" fmla="*/ 730054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730054 w 2160588"/>
              <a:gd name="connsiteY4" fmla="*/ 0 h 6191250"/>
              <a:gd name="connsiteX0" fmla="*/ 0 w 2160588"/>
              <a:gd name="connsiteY0" fmla="*/ 619125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0588" h="6191250">
                <a:moveTo>
                  <a:pt x="0" y="6191250"/>
                </a:moveTo>
                <a:lnTo>
                  <a:pt x="2160588" y="0"/>
                </a:lnTo>
                <a:lnTo>
                  <a:pt x="2160588" y="6191250"/>
                </a:lnTo>
                <a:lnTo>
                  <a:pt x="0" y="619125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22727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  <p15:guide id="2" pos="3976" userDrawn="1">
          <p15:clr>
            <a:srgbClr val="FBAE40"/>
          </p15:clr>
        </p15:guide>
        <p15:guide id="7" pos="6562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ig picture + f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26">
            <a:extLst>
              <a:ext uri="{FF2B5EF4-FFF2-40B4-BE49-F238E27FC236}">
                <a16:creationId xmlns:a16="http://schemas.microsoft.com/office/drawing/2014/main" id="{AA83C7F5-CAC0-4B57-8644-C1637EEFAC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solidFill>
            <a:schemeClr val="accent3"/>
          </a:solidFill>
        </p:spPr>
        <p:txBody>
          <a:bodyPr tIns="327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5AF86170-5B57-43AB-8F27-48C48BA38D4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0031412" y="719"/>
            <a:ext cx="2160588" cy="6858000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01416D22-1341-48EB-B2F1-5F85CAA8641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0031412" y="0"/>
            <a:ext cx="2160588" cy="6858000"/>
          </a:xfrm>
          <a:custGeom>
            <a:avLst/>
            <a:gdLst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0 w 2160588"/>
              <a:gd name="connsiteY4" fmla="*/ 264906 h 6191250"/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320479 w 2160588"/>
              <a:gd name="connsiteY4" fmla="*/ 0 h 6191250"/>
              <a:gd name="connsiteX0" fmla="*/ 730054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730054 w 2160588"/>
              <a:gd name="connsiteY4" fmla="*/ 0 h 619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588" h="6191250">
                <a:moveTo>
                  <a:pt x="730054" y="0"/>
                </a:moveTo>
                <a:lnTo>
                  <a:pt x="2160588" y="0"/>
                </a:lnTo>
                <a:lnTo>
                  <a:pt x="2160588" y="6191250"/>
                </a:lnTo>
                <a:lnTo>
                  <a:pt x="0" y="6191250"/>
                </a:lnTo>
                <a:lnTo>
                  <a:pt x="730054" y="0"/>
                </a:lnTo>
                <a:close/>
              </a:path>
            </a:pathLst>
          </a:custGeom>
          <a:solidFill>
            <a:schemeClr val="accent1">
              <a:alpha val="6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5098878-C239-44C5-95F8-91A76A2702F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0751452" y="0"/>
            <a:ext cx="1440548" cy="6858000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ADF262-128E-4A7C-A210-40F8CEF58A4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0751442" y="0"/>
            <a:ext cx="1440558" cy="6858000"/>
          </a:xfrm>
          <a:custGeom>
            <a:avLst/>
            <a:gdLst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0 w 2160588"/>
              <a:gd name="connsiteY4" fmla="*/ 264906 h 6191250"/>
              <a:gd name="connsiteX0" fmla="*/ 320479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320479 w 2160588"/>
              <a:gd name="connsiteY4" fmla="*/ 0 h 6191250"/>
              <a:gd name="connsiteX0" fmla="*/ 730054 w 2160588"/>
              <a:gd name="connsiteY0" fmla="*/ 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  <a:gd name="connsiteX4" fmla="*/ 730054 w 2160588"/>
              <a:gd name="connsiteY4" fmla="*/ 0 h 6191250"/>
              <a:gd name="connsiteX0" fmla="*/ 0 w 2160588"/>
              <a:gd name="connsiteY0" fmla="*/ 6191250 h 6191250"/>
              <a:gd name="connsiteX1" fmla="*/ 2160588 w 2160588"/>
              <a:gd name="connsiteY1" fmla="*/ 0 h 6191250"/>
              <a:gd name="connsiteX2" fmla="*/ 2160588 w 2160588"/>
              <a:gd name="connsiteY2" fmla="*/ 6191250 h 6191250"/>
              <a:gd name="connsiteX3" fmla="*/ 0 w 2160588"/>
              <a:gd name="connsiteY3" fmla="*/ 6191250 h 619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0588" h="6191250">
                <a:moveTo>
                  <a:pt x="0" y="6191250"/>
                </a:moveTo>
                <a:lnTo>
                  <a:pt x="2160588" y="0"/>
                </a:lnTo>
                <a:lnTo>
                  <a:pt x="2160588" y="6191250"/>
                </a:lnTo>
                <a:lnTo>
                  <a:pt x="0" y="619125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2331C1-F248-4F9A-B913-1ECF64853F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57104" y="4365104"/>
            <a:ext cx="7127528" cy="2016000"/>
          </a:xfrm>
          <a:solidFill>
            <a:schemeClr val="bg1"/>
          </a:solidFill>
        </p:spPr>
        <p:txBody>
          <a:bodyPr lIns="288000" tIns="288000" rIns="288000" bIns="288000"/>
          <a:lstStyle>
            <a:lvl1pPr>
              <a:defRPr baseline="0"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7" name="Inhaltsplatzhalter 2">
            <a:extLst>
              <a:ext uri="{FF2B5EF4-FFF2-40B4-BE49-F238E27FC236}">
                <a16:creationId xmlns:a16="http://schemas.microsoft.com/office/drawing/2014/main" id="{D1775ECF-F5E1-4A97-A8F0-5F2D2F77831E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963874" y="5157496"/>
            <a:ext cx="6480000" cy="93580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285750" indent="-285750">
              <a:buClr>
                <a:schemeClr val="accent1"/>
              </a:buClr>
              <a:buFont typeface="Wingdings" panose="05000000000000000000" pitchFamily="2" charset="2"/>
              <a:buChar char="n"/>
              <a:defRPr b="0">
                <a:solidFill>
                  <a:schemeClr val="tx1"/>
                </a:solidFill>
              </a:defRPr>
            </a:lvl2pPr>
            <a:lvl3pPr marL="447675" indent="-180975">
              <a:buClr>
                <a:schemeClr val="tx1"/>
              </a:buClr>
              <a:buFont typeface="Wingdings" panose="05000000000000000000" pitchFamily="2" charset="2"/>
              <a:buChar char="§"/>
              <a:defRPr/>
            </a:lvl3pPr>
            <a:lvl4pPr marL="628650" indent="-180975">
              <a:defRPr/>
            </a:lvl4pPr>
            <a:lvl5pPr marL="809625" indent="-180975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8" name="Textplatzhalter 22">
            <a:extLst>
              <a:ext uri="{FF2B5EF4-FFF2-40B4-BE49-F238E27FC236}">
                <a16:creationId xmlns:a16="http://schemas.microsoft.com/office/drawing/2014/main" id="{30481A47-535D-423B-8B92-C68CA7EF7F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964494" y="5013176"/>
            <a:ext cx="2735262" cy="18000"/>
          </a:xfrm>
          <a:solidFill>
            <a:schemeClr val="accent1"/>
          </a:solidFill>
          <a:ln>
            <a:noFill/>
          </a:ln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539E49AC-0C55-47AB-B2C2-3E02C44DAC6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407988" y="6604793"/>
            <a:ext cx="810000" cy="108000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5C4596C8-FF19-466E-B4B9-2A0CED32FFB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07368" y="404664"/>
            <a:ext cx="215900" cy="216000"/>
          </a:xfrm>
          <a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13134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+ dark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4221328"/>
            <a:ext cx="3528000" cy="21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3AFD8-5FF3-478A-90C4-E2B75445371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296208" y="4221328"/>
            <a:ext cx="3600000" cy="21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7EAB4C6-5D44-4E06-8CE0-3E354C13AD53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8256588" y="4221328"/>
            <a:ext cx="3528044" cy="21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ildplatzhalter 26">
            <a:extLst>
              <a:ext uri="{FF2B5EF4-FFF2-40B4-BE49-F238E27FC236}">
                <a16:creationId xmlns:a16="http://schemas.microsoft.com/office/drawing/2014/main" id="{A31A76E7-8A08-4835-9BB3-DD76DA58382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07368" y="1557033"/>
            <a:ext cx="3528000" cy="2520000"/>
          </a:xfrm>
          <a:solidFill>
            <a:schemeClr val="accent3"/>
          </a:solidFill>
        </p:spPr>
        <p:txBody>
          <a:bodyPr tIns="144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4CDBF24-5390-4A68-BA81-F1A3A4A4EA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7368" y="1557032"/>
            <a:ext cx="647389" cy="2520000"/>
          </a:xfrm>
          <a:solidFill>
            <a:schemeClr val="accent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12E1E28A-E2C5-431B-9D97-9E427B33736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055680" y="1557032"/>
            <a:ext cx="360000" cy="2520000"/>
          </a:xfrm>
          <a:custGeom>
            <a:avLst/>
            <a:gdLst>
              <a:gd name="connsiteX0" fmla="*/ 0 w 719210"/>
              <a:gd name="connsiteY0" fmla="*/ 0 h 6856269"/>
              <a:gd name="connsiteX1" fmla="*/ 719210 w 719210"/>
              <a:gd name="connsiteY1" fmla="*/ 0 h 6856269"/>
              <a:gd name="connsiteX2" fmla="*/ 719210 w 719210"/>
              <a:gd name="connsiteY2" fmla="*/ 6 h 6856269"/>
              <a:gd name="connsiteX3" fmla="*/ 0 w 719210"/>
              <a:gd name="connsiteY3" fmla="*/ 6856269 h 6856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210" h="6856269">
                <a:moveTo>
                  <a:pt x="0" y="0"/>
                </a:moveTo>
                <a:lnTo>
                  <a:pt x="719210" y="0"/>
                </a:lnTo>
                <a:lnTo>
                  <a:pt x="719210" y="6"/>
                </a:lnTo>
                <a:lnTo>
                  <a:pt x="0" y="6856269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1A345EC7-DDC4-4BBD-801A-B4E5E6FA27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055680" y="1557033"/>
            <a:ext cx="360000" cy="252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3399AB04-C995-406D-8DB4-C48AFE53B8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07988" y="3501304"/>
            <a:ext cx="3528000" cy="504000"/>
          </a:xfrm>
        </p:spPr>
        <p:txBody>
          <a:bodyPr lIns="108000" tIns="72000" rIns="108000" bIns="72000"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2" name="Bildplatzhalter 26">
            <a:extLst>
              <a:ext uri="{FF2B5EF4-FFF2-40B4-BE49-F238E27FC236}">
                <a16:creationId xmlns:a16="http://schemas.microsoft.com/office/drawing/2014/main" id="{BDB8699D-2779-445A-AD00-86BCF020EA6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4296216" y="1557032"/>
            <a:ext cx="3600000" cy="2520000"/>
          </a:xfrm>
          <a:solidFill>
            <a:schemeClr val="accent3"/>
          </a:solidFill>
        </p:spPr>
        <p:txBody>
          <a:bodyPr tIns="144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355960B4-F763-4BC9-B03E-9B8DE0C4E97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296216" y="1557031"/>
            <a:ext cx="647389" cy="2520000"/>
          </a:xfrm>
          <a:solidFill>
            <a:schemeClr val="accent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B3885E46-5D2A-4373-92BA-8ADD2730830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944528" y="1557031"/>
            <a:ext cx="360000" cy="2520000"/>
          </a:xfrm>
          <a:custGeom>
            <a:avLst/>
            <a:gdLst>
              <a:gd name="connsiteX0" fmla="*/ 0 w 719210"/>
              <a:gd name="connsiteY0" fmla="*/ 0 h 6856269"/>
              <a:gd name="connsiteX1" fmla="*/ 719210 w 719210"/>
              <a:gd name="connsiteY1" fmla="*/ 0 h 6856269"/>
              <a:gd name="connsiteX2" fmla="*/ 719210 w 719210"/>
              <a:gd name="connsiteY2" fmla="*/ 6 h 6856269"/>
              <a:gd name="connsiteX3" fmla="*/ 0 w 719210"/>
              <a:gd name="connsiteY3" fmla="*/ 6856269 h 6856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210" h="6856269">
                <a:moveTo>
                  <a:pt x="0" y="0"/>
                </a:moveTo>
                <a:lnTo>
                  <a:pt x="719210" y="0"/>
                </a:lnTo>
                <a:lnTo>
                  <a:pt x="719210" y="6"/>
                </a:lnTo>
                <a:lnTo>
                  <a:pt x="0" y="6856269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639D2DE5-0E64-4D3D-8114-68EE7A93873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944528" y="1557032"/>
            <a:ext cx="360000" cy="252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6" name="Textplatzhalter 16">
            <a:extLst>
              <a:ext uri="{FF2B5EF4-FFF2-40B4-BE49-F238E27FC236}">
                <a16:creationId xmlns:a16="http://schemas.microsoft.com/office/drawing/2014/main" id="{9DFBC0CB-6FE8-49D0-AE32-4AC45A962D9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296836" y="3501304"/>
            <a:ext cx="3600000" cy="504000"/>
          </a:xfrm>
        </p:spPr>
        <p:txBody>
          <a:bodyPr lIns="108000" tIns="72000" rIns="108000" bIns="72000"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972C4A7C-0C18-4AA1-AC9C-BDAC2FEC3339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8256240" y="1557032"/>
            <a:ext cx="3528000" cy="2520000"/>
          </a:xfrm>
          <a:solidFill>
            <a:schemeClr val="accent3"/>
          </a:solidFill>
        </p:spPr>
        <p:txBody>
          <a:bodyPr tIns="144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4B80ABB8-64AF-42BC-8032-58D1A9B2BF2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256240" y="1557032"/>
            <a:ext cx="648000" cy="2520000"/>
          </a:xfrm>
          <a:solidFill>
            <a:schemeClr val="accent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A441B42D-15C6-4193-9FD0-DBA82597C56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04352" y="1557032"/>
            <a:ext cx="360000" cy="2520000"/>
          </a:xfrm>
          <a:custGeom>
            <a:avLst/>
            <a:gdLst>
              <a:gd name="connsiteX0" fmla="*/ 0 w 719210"/>
              <a:gd name="connsiteY0" fmla="*/ 0 h 6856269"/>
              <a:gd name="connsiteX1" fmla="*/ 719210 w 719210"/>
              <a:gd name="connsiteY1" fmla="*/ 0 h 6856269"/>
              <a:gd name="connsiteX2" fmla="*/ 719210 w 719210"/>
              <a:gd name="connsiteY2" fmla="*/ 6 h 6856269"/>
              <a:gd name="connsiteX3" fmla="*/ 0 w 719210"/>
              <a:gd name="connsiteY3" fmla="*/ 6856269 h 6856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210" h="6856269">
                <a:moveTo>
                  <a:pt x="0" y="0"/>
                </a:moveTo>
                <a:lnTo>
                  <a:pt x="719210" y="0"/>
                </a:lnTo>
                <a:lnTo>
                  <a:pt x="719210" y="6"/>
                </a:lnTo>
                <a:lnTo>
                  <a:pt x="0" y="6856269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7786CB21-3C4B-492B-B4C9-E3159217FC9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04312" y="1557032"/>
            <a:ext cx="360000" cy="252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04DBD1DA-208B-4A2B-9235-91AA274863C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8256761" y="3501304"/>
            <a:ext cx="3528000" cy="504000"/>
          </a:xfrm>
        </p:spPr>
        <p:txBody>
          <a:bodyPr lIns="108000" tIns="72000" rIns="108000" bIns="72000"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082493A-796E-44DD-9F72-6717EB7E3E86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 bwMode="gray"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00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479" userDrawn="1">
          <p15:clr>
            <a:srgbClr val="FBAE40"/>
          </p15:clr>
        </p15:guide>
        <p15:guide id="4" pos="2706" userDrawn="1">
          <p15:clr>
            <a:srgbClr val="FBAE40"/>
          </p15:clr>
        </p15:guide>
        <p15:guide id="5" pos="4974" userDrawn="1">
          <p15:clr>
            <a:srgbClr val="FBAE40"/>
          </p15:clr>
        </p15:guide>
        <p15:guide id="6" pos="5201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ho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ildplatzhalter 26">
            <a:extLst>
              <a:ext uri="{FF2B5EF4-FFF2-40B4-BE49-F238E27FC236}">
                <a16:creationId xmlns:a16="http://schemas.microsoft.com/office/drawing/2014/main" id="{EFAAF43C-9B59-4AC7-850C-694F03DE057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79375" y="0"/>
            <a:ext cx="3240000" cy="6858000"/>
          </a:xfrm>
          <a:solidFill>
            <a:schemeClr val="accent3"/>
          </a:solidFill>
        </p:spPr>
        <p:txBody>
          <a:bodyPr tIns="367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Optional: To add a picture click the icon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C3B87A74-3F1C-4021-8369-282FE226B3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79376" y="0"/>
            <a:ext cx="719210" cy="6856269"/>
          </a:xfrm>
          <a:custGeom>
            <a:avLst/>
            <a:gdLst>
              <a:gd name="connsiteX0" fmla="*/ 0 w 719210"/>
              <a:gd name="connsiteY0" fmla="*/ 0 h 6856269"/>
              <a:gd name="connsiteX1" fmla="*/ 719210 w 719210"/>
              <a:gd name="connsiteY1" fmla="*/ 0 h 6856269"/>
              <a:gd name="connsiteX2" fmla="*/ 719210 w 719210"/>
              <a:gd name="connsiteY2" fmla="*/ 6 h 6856269"/>
              <a:gd name="connsiteX3" fmla="*/ 0 w 719210"/>
              <a:gd name="connsiteY3" fmla="*/ 6856269 h 6856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210" h="6856269">
                <a:moveTo>
                  <a:pt x="0" y="0"/>
                </a:moveTo>
                <a:lnTo>
                  <a:pt x="719210" y="0"/>
                </a:lnTo>
                <a:lnTo>
                  <a:pt x="719210" y="6"/>
                </a:lnTo>
                <a:lnTo>
                  <a:pt x="0" y="6856269"/>
                </a:lnTo>
                <a:close/>
              </a:path>
            </a:pathLst>
          </a:custGeom>
          <a:solidFill>
            <a:schemeClr val="accent1">
              <a:alpha val="32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F5B457A7-6900-4A35-91F4-72996550BF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79376" y="-1"/>
            <a:ext cx="719840" cy="6857999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20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ED86B9B-4F63-484F-B206-DC00AD0475B9}"/>
              </a:ext>
            </a:extLst>
          </p:cNvPr>
          <p:cNvSpPr/>
          <p:nvPr userDrawn="1"/>
        </p:nvSpPr>
        <p:spPr bwMode="gray">
          <a:xfrm>
            <a:off x="0" y="0"/>
            <a:ext cx="47937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C97BE3F-D3B2-4307-AAF0-D21AE4DACE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943872" y="2765067"/>
            <a:ext cx="5616000" cy="1944000"/>
          </a:xfrm>
        </p:spPr>
        <p:txBody>
          <a:bodyPr anchor="t"/>
          <a:lstStyle>
            <a:lvl1pPr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he first Agenda point </a:t>
            </a:r>
          </a:p>
        </p:txBody>
      </p:sp>
      <p:sp>
        <p:nvSpPr>
          <p:cNvPr id="34" name="Textplatzhalter 20">
            <a:extLst>
              <a:ext uri="{FF2B5EF4-FFF2-40B4-BE49-F238E27FC236}">
                <a16:creationId xmlns:a16="http://schemas.microsoft.com/office/drawing/2014/main" id="{2EB1904C-21B7-4221-8D93-447D07B926E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943872" y="2204864"/>
            <a:ext cx="360000" cy="36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</a:defRPr>
            </a:lvl2pPr>
            <a:lvl3pPr marL="0" indent="0" algn="ctr">
              <a:buNone/>
              <a:defRPr sz="2100" b="0">
                <a:solidFill>
                  <a:schemeClr val="bg1"/>
                </a:solidFill>
              </a:defRPr>
            </a:lvl3pPr>
            <a:lvl4pPr marL="0" indent="0" algn="ctr">
              <a:buNone/>
              <a:defRPr sz="2100" b="0">
                <a:solidFill>
                  <a:schemeClr val="bg1"/>
                </a:solidFill>
              </a:defRPr>
            </a:lvl4pPr>
            <a:lvl5pPr marL="0" indent="0" algn="ctr">
              <a:buNone/>
              <a:defRPr sz="2100" b="0">
                <a:solidFill>
                  <a:schemeClr val="bg1"/>
                </a:solidFill>
              </a:defRPr>
            </a:lvl5pPr>
            <a:lvl6pPr marL="0" indent="0" algn="ctr">
              <a:buNone/>
              <a:defRPr sz="2100" b="0">
                <a:solidFill>
                  <a:schemeClr val="bg1"/>
                </a:solidFill>
              </a:defRPr>
            </a:lvl6pPr>
            <a:lvl7pPr marL="0" indent="0" algn="ctr">
              <a:buNone/>
              <a:defRPr sz="2100" b="0">
                <a:solidFill>
                  <a:schemeClr val="bg1"/>
                </a:solidFill>
              </a:defRPr>
            </a:lvl7pPr>
            <a:lvl8pPr marL="0" indent="0" algn="ctr">
              <a:buNone/>
              <a:defRPr sz="2100" b="0">
                <a:solidFill>
                  <a:schemeClr val="bg1"/>
                </a:solidFill>
              </a:defRPr>
            </a:lvl8pPr>
            <a:lvl9pPr marL="0" indent="0" algn="ctr"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34FAFE32-E57F-456E-BA83-5BA7BDD5B7F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07368" y="404664"/>
            <a:ext cx="215900" cy="216000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9467348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+ brigh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6">
            <a:extLst>
              <a:ext uri="{FF2B5EF4-FFF2-40B4-BE49-F238E27FC236}">
                <a16:creationId xmlns:a16="http://schemas.microsoft.com/office/drawing/2014/main" id="{A31A76E7-8A08-4835-9BB3-DD76DA58382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08683" y="1556792"/>
            <a:ext cx="3528000" cy="2520000"/>
          </a:xfrm>
          <a:solidFill>
            <a:schemeClr val="accent3"/>
          </a:solidFill>
        </p:spPr>
        <p:txBody>
          <a:bodyPr tIns="93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1A345EC7-DDC4-4BBD-801A-B4E5E6FA27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08683" y="3068759"/>
            <a:ext cx="3529315" cy="36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4221328"/>
            <a:ext cx="3528000" cy="21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3AFD8-5FF3-478A-90C4-E2B75445371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296208" y="4221328"/>
            <a:ext cx="3600000" cy="21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7EAB4C6-5D44-4E06-8CE0-3E354C13AD53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8256588" y="4221328"/>
            <a:ext cx="3528044" cy="21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3399AB04-C995-406D-8DB4-C48AFE53B8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09303" y="3428759"/>
            <a:ext cx="3528000" cy="648000"/>
          </a:xfrm>
          <a:solidFill>
            <a:schemeClr val="accent1"/>
          </a:solidFill>
        </p:spPr>
        <p:txBody>
          <a:bodyPr lIns="108000" tIns="72000" rIns="108000" bIns="144000"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2" name="Bildplatzhalter 26">
            <a:extLst>
              <a:ext uri="{FF2B5EF4-FFF2-40B4-BE49-F238E27FC236}">
                <a16:creationId xmlns:a16="http://schemas.microsoft.com/office/drawing/2014/main" id="{BDB8699D-2779-445A-AD00-86BCF020EA6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4296216" y="1557032"/>
            <a:ext cx="3600000" cy="2520000"/>
          </a:xfrm>
          <a:solidFill>
            <a:schemeClr val="accent3"/>
          </a:solidFill>
        </p:spPr>
        <p:txBody>
          <a:bodyPr tIns="93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972C4A7C-0C18-4AA1-AC9C-BDAC2FEC3339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8256240" y="1557032"/>
            <a:ext cx="3528000" cy="2520000"/>
          </a:xfrm>
          <a:solidFill>
            <a:schemeClr val="accent3"/>
          </a:solidFill>
        </p:spPr>
        <p:txBody>
          <a:bodyPr tIns="93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082493A-796E-44DD-9F72-6717EB7E3E86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 bwMode="gray"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  <p:sp>
        <p:nvSpPr>
          <p:cNvPr id="33" name="Textplatzhalter 20">
            <a:extLst>
              <a:ext uri="{FF2B5EF4-FFF2-40B4-BE49-F238E27FC236}">
                <a16:creationId xmlns:a16="http://schemas.microsoft.com/office/drawing/2014/main" id="{7DA3FA56-E784-47B0-98DB-50DFA539B2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07368" y="3068759"/>
            <a:ext cx="3529315" cy="36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  <a:gd name="connsiteX0" fmla="*/ 0 w 719840"/>
              <a:gd name="connsiteY0" fmla="*/ 6885383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6885383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600" b="0" noProof="0" dirty="0">
                <a:solidFill>
                  <a:schemeClr val="tx1">
                    <a:alpha val="0"/>
                  </a:schemeClr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1" name="Textplatzhalter 20">
            <a:extLst>
              <a:ext uri="{FF2B5EF4-FFF2-40B4-BE49-F238E27FC236}">
                <a16:creationId xmlns:a16="http://schemas.microsoft.com/office/drawing/2014/main" id="{B9BD6EAE-17A2-4EA5-A3D3-273D5E2832A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297115" y="3068960"/>
            <a:ext cx="3600000" cy="36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42" name="Textplatzhalter 16">
            <a:extLst>
              <a:ext uri="{FF2B5EF4-FFF2-40B4-BE49-F238E27FC236}">
                <a16:creationId xmlns:a16="http://schemas.microsoft.com/office/drawing/2014/main" id="{5D5F27B9-6343-4228-BB14-46EB812A935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297735" y="3428960"/>
            <a:ext cx="3600000" cy="648000"/>
          </a:xfrm>
          <a:solidFill>
            <a:schemeClr val="accent1"/>
          </a:solidFill>
        </p:spPr>
        <p:txBody>
          <a:bodyPr lIns="108000" tIns="72000" rIns="108000" bIns="144000"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3" name="Textplatzhalter 20">
            <a:extLst>
              <a:ext uri="{FF2B5EF4-FFF2-40B4-BE49-F238E27FC236}">
                <a16:creationId xmlns:a16="http://schemas.microsoft.com/office/drawing/2014/main" id="{F641B558-E6FB-4165-A2A1-E7B4F1104A6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295800" y="3068960"/>
            <a:ext cx="3600000" cy="36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  <a:gd name="connsiteX0" fmla="*/ 0 w 719840"/>
              <a:gd name="connsiteY0" fmla="*/ 6885383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6885383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600" b="0" noProof="0" dirty="0">
                <a:solidFill>
                  <a:schemeClr val="tx1">
                    <a:alpha val="0"/>
                  </a:schemeClr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4" name="Textplatzhalter 20">
            <a:extLst>
              <a:ext uri="{FF2B5EF4-FFF2-40B4-BE49-F238E27FC236}">
                <a16:creationId xmlns:a16="http://schemas.microsoft.com/office/drawing/2014/main" id="{A8CA13F9-E5B8-42AA-B066-359DFD7D65D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256020" y="3069161"/>
            <a:ext cx="3528000" cy="36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45" name="Textplatzhalter 16">
            <a:extLst>
              <a:ext uri="{FF2B5EF4-FFF2-40B4-BE49-F238E27FC236}">
                <a16:creationId xmlns:a16="http://schemas.microsoft.com/office/drawing/2014/main" id="{C500F1F4-95C9-40E3-9727-AFF8FC20065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256640" y="3429161"/>
            <a:ext cx="3528000" cy="648000"/>
          </a:xfrm>
          <a:solidFill>
            <a:schemeClr val="accent1"/>
          </a:solidFill>
        </p:spPr>
        <p:txBody>
          <a:bodyPr lIns="108000" tIns="72000" rIns="108000" bIns="144000"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6" name="Textplatzhalter 20">
            <a:extLst>
              <a:ext uri="{FF2B5EF4-FFF2-40B4-BE49-F238E27FC236}">
                <a16:creationId xmlns:a16="http://schemas.microsoft.com/office/drawing/2014/main" id="{709B3A3E-414D-41A6-8ED1-DEF67C204EC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254705" y="3069161"/>
            <a:ext cx="3528000" cy="36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  <a:gd name="connsiteX0" fmla="*/ 0 w 719840"/>
              <a:gd name="connsiteY0" fmla="*/ 6885383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6885383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600" b="0" noProof="0" dirty="0">
                <a:solidFill>
                  <a:schemeClr val="tx1">
                    <a:alpha val="0"/>
                  </a:schemeClr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600" b="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50763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479">
          <p15:clr>
            <a:srgbClr val="FBAE40"/>
          </p15:clr>
        </p15:guide>
        <p15:guide id="4" pos="2706">
          <p15:clr>
            <a:srgbClr val="FBAE40"/>
          </p15:clr>
        </p15:guide>
        <p15:guide id="5" pos="4974">
          <p15:clr>
            <a:srgbClr val="FBAE40"/>
          </p15:clr>
        </p15:guide>
        <p15:guide id="6" pos="520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four pictures + 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6">
            <a:extLst>
              <a:ext uri="{FF2B5EF4-FFF2-40B4-BE49-F238E27FC236}">
                <a16:creationId xmlns:a16="http://schemas.microsoft.com/office/drawing/2014/main" id="{D3B6C1FB-5FDD-4069-A5FA-9816E770DD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07368" y="1916832"/>
            <a:ext cx="2520000" cy="3816000"/>
          </a:xfrm>
          <a:solidFill>
            <a:schemeClr val="accent3"/>
          </a:solidFill>
          <a:ln>
            <a:noFill/>
          </a:ln>
        </p:spPr>
        <p:txBody>
          <a:bodyPr tIns="151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9179E806-EAC0-4E5D-AE96-3056610CD74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07988" y="4833256"/>
            <a:ext cx="2519362" cy="900000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EF115400-4B9C-4760-943D-0A8BE92FB6C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 flipV="1">
            <a:off x="407368" y="4833256"/>
            <a:ext cx="2519362" cy="900000"/>
          </a:xfrm>
          <a:custGeom>
            <a:avLst/>
            <a:gdLst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209127 w 2519362"/>
              <a:gd name="connsiteY3" fmla="*/ 906016 h 906016"/>
              <a:gd name="connsiteX4" fmla="*/ 0 w 2519362"/>
              <a:gd name="connsiteY4" fmla="*/ 707531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707531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617043 h 906016"/>
              <a:gd name="connsiteX4" fmla="*/ 0 w 2519362"/>
              <a:gd name="connsiteY4" fmla="*/ 0 h 9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9362" h="906016">
                <a:moveTo>
                  <a:pt x="0" y="0"/>
                </a:moveTo>
                <a:lnTo>
                  <a:pt x="2519362" y="0"/>
                </a:lnTo>
                <a:lnTo>
                  <a:pt x="2519362" y="906016"/>
                </a:lnTo>
                <a:lnTo>
                  <a:pt x="0" y="6170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4" name="Textplatzhalter 39">
            <a:extLst>
              <a:ext uri="{FF2B5EF4-FFF2-40B4-BE49-F238E27FC236}">
                <a16:creationId xmlns:a16="http://schemas.microsoft.com/office/drawing/2014/main" id="{95E1B193-5A72-4080-9B66-24D77A44307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07368" y="5121256"/>
            <a:ext cx="2519362" cy="612000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2331C1-F248-4F9A-B913-1ECF64853F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8DEEAD-C858-4DE2-9E16-7D3D41A4D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3E2896C-3CAC-4048-91D9-B5AD2104BC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1556767"/>
            <a:ext cx="2520000" cy="2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AE075BFC-7A14-4D6C-B468-48AEEAAA05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9976" y="1556792"/>
            <a:ext cx="2520000" cy="2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0914EC7-BEC6-4520-B439-024986E8AD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312304" y="1556817"/>
            <a:ext cx="2520000" cy="2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BD094E2-F03F-40BE-8EF7-8E55656086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264352" y="1556842"/>
            <a:ext cx="2520000" cy="25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Bildplatzhalter 26">
            <a:extLst>
              <a:ext uri="{FF2B5EF4-FFF2-40B4-BE49-F238E27FC236}">
                <a16:creationId xmlns:a16="http://schemas.microsoft.com/office/drawing/2014/main" id="{4DB6DD23-E28B-4597-9B27-EDCE4BCF6E6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312024" y="1916832"/>
            <a:ext cx="2520000" cy="3816000"/>
          </a:xfrm>
          <a:solidFill>
            <a:schemeClr val="accent3"/>
          </a:solidFill>
          <a:ln>
            <a:noFill/>
          </a:ln>
        </p:spPr>
        <p:txBody>
          <a:bodyPr tIns="151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3" name="Bildplatzhalter 26">
            <a:extLst>
              <a:ext uri="{FF2B5EF4-FFF2-40B4-BE49-F238E27FC236}">
                <a16:creationId xmlns:a16="http://schemas.microsoft.com/office/drawing/2014/main" id="{A6B66F25-9D52-43E2-AF39-4E1E286800A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9264352" y="1916832"/>
            <a:ext cx="2520000" cy="3816000"/>
          </a:xfrm>
          <a:solidFill>
            <a:schemeClr val="accent3"/>
          </a:solidFill>
          <a:ln>
            <a:noFill/>
          </a:ln>
        </p:spPr>
        <p:txBody>
          <a:bodyPr tIns="151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012DBBC-F9AF-425B-A867-37AEB93EBF4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07988" y="5877328"/>
            <a:ext cx="2519362" cy="504000"/>
          </a:xfrm>
        </p:spPr>
        <p:txBody>
          <a:bodyPr tIns="72000" bIns="7200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6E542819-D87A-4D0A-A80A-E983D9FF32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360614" y="5877328"/>
            <a:ext cx="2519362" cy="504000"/>
          </a:xfrm>
        </p:spPr>
        <p:txBody>
          <a:bodyPr tIns="72000" bIns="7200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F833D9DD-2421-478F-AC5B-9B9F018D5A3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312942" y="5877328"/>
            <a:ext cx="2519362" cy="504000"/>
          </a:xfrm>
        </p:spPr>
        <p:txBody>
          <a:bodyPr tIns="72000" bIns="7200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EDF3B7C0-C764-4A7C-B8ED-7E1E282C7A5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265270" y="5877328"/>
            <a:ext cx="2519362" cy="504000"/>
          </a:xfrm>
        </p:spPr>
        <p:txBody>
          <a:bodyPr tIns="72000" bIns="7200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36E77832-2C3A-466B-AA69-DFE3AB59F23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 flipV="1">
            <a:off x="407368" y="5121256"/>
            <a:ext cx="2519362" cy="612000"/>
          </a:xfrm>
          <a:custGeom>
            <a:avLst/>
            <a:gdLst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209127 w 2519362"/>
              <a:gd name="connsiteY3" fmla="*/ 906016 h 906016"/>
              <a:gd name="connsiteX4" fmla="*/ 0 w 2519362"/>
              <a:gd name="connsiteY4" fmla="*/ 707531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707531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617043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0 h 9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9362" h="906016">
                <a:moveTo>
                  <a:pt x="0" y="0"/>
                </a:moveTo>
                <a:lnTo>
                  <a:pt x="2519362" y="0"/>
                </a:lnTo>
                <a:lnTo>
                  <a:pt x="2519362" y="90601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6" name="Textplatzhalter 39">
            <a:extLst>
              <a:ext uri="{FF2B5EF4-FFF2-40B4-BE49-F238E27FC236}">
                <a16:creationId xmlns:a16="http://schemas.microsoft.com/office/drawing/2014/main" id="{F6D7A7B3-C3D8-432D-95A2-AD721D684F3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312942" y="4833256"/>
            <a:ext cx="2519362" cy="900000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239869B4-45FD-46B7-A39D-E372F7783A1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 flipV="1">
            <a:off x="6312322" y="4833256"/>
            <a:ext cx="2519362" cy="900000"/>
          </a:xfrm>
          <a:custGeom>
            <a:avLst/>
            <a:gdLst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209127 w 2519362"/>
              <a:gd name="connsiteY3" fmla="*/ 906016 h 906016"/>
              <a:gd name="connsiteX4" fmla="*/ 0 w 2519362"/>
              <a:gd name="connsiteY4" fmla="*/ 707531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707531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617043 h 906016"/>
              <a:gd name="connsiteX4" fmla="*/ 0 w 2519362"/>
              <a:gd name="connsiteY4" fmla="*/ 0 h 9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9362" h="906016">
                <a:moveTo>
                  <a:pt x="0" y="0"/>
                </a:moveTo>
                <a:lnTo>
                  <a:pt x="2519362" y="0"/>
                </a:lnTo>
                <a:lnTo>
                  <a:pt x="2519362" y="906016"/>
                </a:lnTo>
                <a:lnTo>
                  <a:pt x="0" y="6170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platzhalter 39">
            <a:extLst>
              <a:ext uri="{FF2B5EF4-FFF2-40B4-BE49-F238E27FC236}">
                <a16:creationId xmlns:a16="http://schemas.microsoft.com/office/drawing/2014/main" id="{4657C7FC-BAAD-473E-B542-0A5A8B8A503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312322" y="5121256"/>
            <a:ext cx="2519362" cy="612000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15A6F36B-DA08-48A6-8466-CDE4F685353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 flipV="1">
            <a:off x="6312322" y="5121256"/>
            <a:ext cx="2519362" cy="612000"/>
          </a:xfrm>
          <a:custGeom>
            <a:avLst/>
            <a:gdLst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209127 w 2519362"/>
              <a:gd name="connsiteY3" fmla="*/ 906016 h 906016"/>
              <a:gd name="connsiteX4" fmla="*/ 0 w 2519362"/>
              <a:gd name="connsiteY4" fmla="*/ 707531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707531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617043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0 h 9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9362" h="906016">
                <a:moveTo>
                  <a:pt x="0" y="0"/>
                </a:moveTo>
                <a:lnTo>
                  <a:pt x="2519362" y="0"/>
                </a:lnTo>
                <a:lnTo>
                  <a:pt x="2519362" y="90601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0" name="Textplatzhalter 39">
            <a:extLst>
              <a:ext uri="{FF2B5EF4-FFF2-40B4-BE49-F238E27FC236}">
                <a16:creationId xmlns:a16="http://schemas.microsoft.com/office/drawing/2014/main" id="{CB2B1F47-0EF2-443D-A102-49F7BC129CF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9265270" y="4833256"/>
            <a:ext cx="2519362" cy="900000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1" name="Textplatzhalter 50">
            <a:extLst>
              <a:ext uri="{FF2B5EF4-FFF2-40B4-BE49-F238E27FC236}">
                <a16:creationId xmlns:a16="http://schemas.microsoft.com/office/drawing/2014/main" id="{B6DB3BA6-B6B6-4184-99BF-0814F24030C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 flipV="1">
            <a:off x="9264650" y="4833256"/>
            <a:ext cx="2519362" cy="900000"/>
          </a:xfrm>
          <a:custGeom>
            <a:avLst/>
            <a:gdLst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209127 w 2519362"/>
              <a:gd name="connsiteY3" fmla="*/ 906016 h 906016"/>
              <a:gd name="connsiteX4" fmla="*/ 0 w 2519362"/>
              <a:gd name="connsiteY4" fmla="*/ 707531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707531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617043 h 906016"/>
              <a:gd name="connsiteX4" fmla="*/ 0 w 2519362"/>
              <a:gd name="connsiteY4" fmla="*/ 0 h 9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9362" h="906016">
                <a:moveTo>
                  <a:pt x="0" y="0"/>
                </a:moveTo>
                <a:lnTo>
                  <a:pt x="2519362" y="0"/>
                </a:lnTo>
                <a:lnTo>
                  <a:pt x="2519362" y="906016"/>
                </a:lnTo>
                <a:lnTo>
                  <a:pt x="0" y="6170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2" name="Textplatzhalter 39">
            <a:extLst>
              <a:ext uri="{FF2B5EF4-FFF2-40B4-BE49-F238E27FC236}">
                <a16:creationId xmlns:a16="http://schemas.microsoft.com/office/drawing/2014/main" id="{89BED1E2-0BC0-4F69-87EA-BA602682BF2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9264650" y="5121256"/>
            <a:ext cx="2519362" cy="612000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4FC9D5AD-9F12-4FA8-B648-D730CCD5FCD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gray">
          <a:xfrm flipV="1">
            <a:off x="9264650" y="5121256"/>
            <a:ext cx="2519362" cy="612000"/>
          </a:xfrm>
          <a:custGeom>
            <a:avLst/>
            <a:gdLst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209127 w 2519362"/>
              <a:gd name="connsiteY3" fmla="*/ 906016 h 906016"/>
              <a:gd name="connsiteX4" fmla="*/ 0 w 2519362"/>
              <a:gd name="connsiteY4" fmla="*/ 707531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707531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617043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0 h 9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9362" h="906016">
                <a:moveTo>
                  <a:pt x="0" y="0"/>
                </a:moveTo>
                <a:lnTo>
                  <a:pt x="2519362" y="0"/>
                </a:lnTo>
                <a:lnTo>
                  <a:pt x="2519362" y="90601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93CA1F-A180-4A9B-B9D3-F05F94250644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 bwMode="gray"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  <p:sp>
        <p:nvSpPr>
          <p:cNvPr id="35" name="Bildplatzhalter 26">
            <a:extLst>
              <a:ext uri="{FF2B5EF4-FFF2-40B4-BE49-F238E27FC236}">
                <a16:creationId xmlns:a16="http://schemas.microsoft.com/office/drawing/2014/main" id="{8CDA74E2-F86B-4E98-AF69-E4E214908F7A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 bwMode="gray">
          <a:xfrm>
            <a:off x="3359976" y="1916832"/>
            <a:ext cx="2520000" cy="3816000"/>
          </a:xfrm>
          <a:solidFill>
            <a:schemeClr val="accent3"/>
          </a:solidFill>
          <a:ln>
            <a:noFill/>
          </a:ln>
        </p:spPr>
        <p:txBody>
          <a:bodyPr tIns="151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36" name="Textplatzhalter 39">
            <a:extLst>
              <a:ext uri="{FF2B5EF4-FFF2-40B4-BE49-F238E27FC236}">
                <a16:creationId xmlns:a16="http://schemas.microsoft.com/office/drawing/2014/main" id="{8870A6F8-BB73-4495-84CD-D9DF431B884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3360596" y="4833256"/>
            <a:ext cx="2519362" cy="900000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7" name="Textplatzhalter 42">
            <a:extLst>
              <a:ext uri="{FF2B5EF4-FFF2-40B4-BE49-F238E27FC236}">
                <a16:creationId xmlns:a16="http://schemas.microsoft.com/office/drawing/2014/main" id="{47CE5F76-F853-46EE-B075-61422E3FA85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 bwMode="gray">
          <a:xfrm flipV="1">
            <a:off x="3359976" y="4833256"/>
            <a:ext cx="2519362" cy="900000"/>
          </a:xfrm>
          <a:custGeom>
            <a:avLst/>
            <a:gdLst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209127 w 2519362"/>
              <a:gd name="connsiteY3" fmla="*/ 906016 h 906016"/>
              <a:gd name="connsiteX4" fmla="*/ 0 w 2519362"/>
              <a:gd name="connsiteY4" fmla="*/ 707531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707531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617043 h 906016"/>
              <a:gd name="connsiteX4" fmla="*/ 0 w 2519362"/>
              <a:gd name="connsiteY4" fmla="*/ 0 h 9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9362" h="906016">
                <a:moveTo>
                  <a:pt x="0" y="0"/>
                </a:moveTo>
                <a:lnTo>
                  <a:pt x="2519362" y="0"/>
                </a:lnTo>
                <a:lnTo>
                  <a:pt x="2519362" y="906016"/>
                </a:lnTo>
                <a:lnTo>
                  <a:pt x="0" y="6170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8" name="Textplatzhalter 39">
            <a:extLst>
              <a:ext uri="{FF2B5EF4-FFF2-40B4-BE49-F238E27FC236}">
                <a16:creationId xmlns:a16="http://schemas.microsoft.com/office/drawing/2014/main" id="{6F686B2A-5EFC-4BC2-B531-3E8CBCB6695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3359976" y="5121256"/>
            <a:ext cx="2519362" cy="612000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9" name="Textplatzhalter 44">
            <a:extLst>
              <a:ext uri="{FF2B5EF4-FFF2-40B4-BE49-F238E27FC236}">
                <a16:creationId xmlns:a16="http://schemas.microsoft.com/office/drawing/2014/main" id="{37510859-A602-4E41-ADB6-82AFD9BC000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 bwMode="gray">
          <a:xfrm flipV="1">
            <a:off x="3359976" y="5121256"/>
            <a:ext cx="2519362" cy="612000"/>
          </a:xfrm>
          <a:custGeom>
            <a:avLst/>
            <a:gdLst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209127 w 2519362"/>
              <a:gd name="connsiteY3" fmla="*/ 906016 h 906016"/>
              <a:gd name="connsiteX4" fmla="*/ 0 w 2519362"/>
              <a:gd name="connsiteY4" fmla="*/ 707531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707531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617043 h 906016"/>
              <a:gd name="connsiteX4" fmla="*/ 0 w 2519362"/>
              <a:gd name="connsiteY4" fmla="*/ 0 h 906016"/>
              <a:gd name="connsiteX0" fmla="*/ 0 w 2519362"/>
              <a:gd name="connsiteY0" fmla="*/ 0 h 906016"/>
              <a:gd name="connsiteX1" fmla="*/ 2519362 w 2519362"/>
              <a:gd name="connsiteY1" fmla="*/ 0 h 906016"/>
              <a:gd name="connsiteX2" fmla="*/ 2519362 w 2519362"/>
              <a:gd name="connsiteY2" fmla="*/ 906016 h 906016"/>
              <a:gd name="connsiteX3" fmla="*/ 0 w 2519362"/>
              <a:gd name="connsiteY3" fmla="*/ 0 h 9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9362" h="906016">
                <a:moveTo>
                  <a:pt x="0" y="0"/>
                </a:moveTo>
                <a:lnTo>
                  <a:pt x="2519362" y="0"/>
                </a:lnTo>
                <a:lnTo>
                  <a:pt x="2519362" y="90601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67635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44" userDrawn="1">
          <p15:clr>
            <a:srgbClr val="FBAE40"/>
          </p15:clr>
        </p15:guide>
        <p15:guide id="2" pos="3704" userDrawn="1">
          <p15:clr>
            <a:srgbClr val="FBAE40"/>
          </p15:clr>
        </p15:guide>
        <p15:guide id="3" pos="3976" userDrawn="1">
          <p15:clr>
            <a:srgbClr val="FBAE40"/>
          </p15:clr>
        </p15:guide>
        <p15:guide id="4" pos="2116" userDrawn="1">
          <p15:clr>
            <a:srgbClr val="FBAE40"/>
          </p15:clr>
        </p15:guide>
        <p15:guide id="5" pos="5836" userDrawn="1">
          <p15:clr>
            <a:srgbClr val="FBAE40"/>
          </p15:clr>
        </p15:guide>
        <p15:guide id="6" pos="5564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+ picture gall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2331C1-F248-4F9A-B913-1ECF64853F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264352" y="1484896"/>
            <a:ext cx="2520000" cy="115200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8DEEAD-C858-4DE2-9E16-7D3D41A4D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Bildplatzhalter 26">
            <a:extLst>
              <a:ext uri="{FF2B5EF4-FFF2-40B4-BE49-F238E27FC236}">
                <a16:creationId xmlns:a16="http://schemas.microsoft.com/office/drawing/2014/main" id="{9DF07A8D-3E2F-407D-9A00-4B35D918F2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528048" y="404664"/>
            <a:ext cx="2304000" cy="1656000"/>
          </a:xfrm>
          <a:solidFill>
            <a:schemeClr val="accent3"/>
          </a:solidFill>
        </p:spPr>
        <p:txBody>
          <a:bodyPr tIns="108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404A11-EDB7-461D-8872-FF98DDAEB8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264650" y="2781328"/>
            <a:ext cx="2519363" cy="360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ildplatzhalter 26">
            <a:extLst>
              <a:ext uri="{FF2B5EF4-FFF2-40B4-BE49-F238E27FC236}">
                <a16:creationId xmlns:a16="http://schemas.microsoft.com/office/drawing/2014/main" id="{2D50874D-B292-4192-A678-D9FACFAC878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7" y="836696"/>
            <a:ext cx="5940000" cy="3600000"/>
          </a:xfrm>
          <a:solidFill>
            <a:schemeClr val="accent3"/>
          </a:solidFill>
        </p:spPr>
        <p:txBody>
          <a:bodyPr tIns="165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0" name="Bildplatzhalter 26">
            <a:extLst>
              <a:ext uri="{FF2B5EF4-FFF2-40B4-BE49-F238E27FC236}">
                <a16:creationId xmlns:a16="http://schemas.microsoft.com/office/drawing/2014/main" id="{4C64E45E-A669-486C-8B63-604789ADE20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528304" y="2204864"/>
            <a:ext cx="2304000" cy="1656000"/>
          </a:xfrm>
          <a:solidFill>
            <a:schemeClr val="accent3"/>
          </a:solidFill>
        </p:spPr>
        <p:txBody>
          <a:bodyPr tIns="108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1" name="Bildplatzhalter 26">
            <a:extLst>
              <a:ext uri="{FF2B5EF4-FFF2-40B4-BE49-F238E27FC236}">
                <a16:creationId xmlns:a16="http://schemas.microsoft.com/office/drawing/2014/main" id="{82086F84-780A-412E-BC50-84CDCD8821A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24304" y="4581328"/>
            <a:ext cx="2808000" cy="1800000"/>
          </a:xfrm>
          <a:solidFill>
            <a:schemeClr val="accent3"/>
          </a:solidFill>
        </p:spPr>
        <p:txBody>
          <a:bodyPr tIns="1188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3" name="Bildplatzhalter 26">
            <a:extLst>
              <a:ext uri="{FF2B5EF4-FFF2-40B4-BE49-F238E27FC236}">
                <a16:creationId xmlns:a16="http://schemas.microsoft.com/office/drawing/2014/main" id="{870520FF-ED48-4387-9AF0-E894FAD89EC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071976" y="4581328"/>
            <a:ext cx="2808000" cy="1800000"/>
          </a:xfrm>
          <a:solidFill>
            <a:schemeClr val="accent3"/>
          </a:solidFill>
        </p:spPr>
        <p:txBody>
          <a:bodyPr tIns="1188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5" name="Bildplatzhalter 26">
            <a:extLst>
              <a:ext uri="{FF2B5EF4-FFF2-40B4-BE49-F238E27FC236}">
                <a16:creationId xmlns:a16="http://schemas.microsoft.com/office/drawing/2014/main" id="{C0B947C0-DD72-4B6F-9C87-F9CAAD13DD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23648" y="4581296"/>
            <a:ext cx="2304000" cy="1584000"/>
          </a:xfrm>
          <a:solidFill>
            <a:schemeClr val="accent3"/>
          </a:solidFill>
        </p:spPr>
        <p:txBody>
          <a:bodyPr tIns="1044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/>
              <a:t>To add a picture click the icon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E295534A-0B73-46FB-A0C1-FDEF50247A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8051" y="837135"/>
            <a:ext cx="647389" cy="3600000"/>
          </a:xfrm>
          <a:solidFill>
            <a:schemeClr val="accent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17" name="Textplatzhalter 19">
            <a:extLst>
              <a:ext uri="{FF2B5EF4-FFF2-40B4-BE49-F238E27FC236}">
                <a16:creationId xmlns:a16="http://schemas.microsoft.com/office/drawing/2014/main" id="{C6EFE638-C66A-420E-9D55-5F997CEFC22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055480" y="837135"/>
            <a:ext cx="360000" cy="3600000"/>
          </a:xfrm>
          <a:custGeom>
            <a:avLst/>
            <a:gdLst>
              <a:gd name="connsiteX0" fmla="*/ 0 w 719210"/>
              <a:gd name="connsiteY0" fmla="*/ 0 h 6856269"/>
              <a:gd name="connsiteX1" fmla="*/ 719210 w 719210"/>
              <a:gd name="connsiteY1" fmla="*/ 0 h 6856269"/>
              <a:gd name="connsiteX2" fmla="*/ 719210 w 719210"/>
              <a:gd name="connsiteY2" fmla="*/ 6 h 6856269"/>
              <a:gd name="connsiteX3" fmla="*/ 0 w 719210"/>
              <a:gd name="connsiteY3" fmla="*/ 6856269 h 6856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210" h="6856269">
                <a:moveTo>
                  <a:pt x="0" y="0"/>
                </a:moveTo>
                <a:lnTo>
                  <a:pt x="719210" y="0"/>
                </a:lnTo>
                <a:lnTo>
                  <a:pt x="719210" y="6"/>
                </a:lnTo>
                <a:lnTo>
                  <a:pt x="0" y="6856269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8" name="Textplatzhalter 20">
            <a:extLst>
              <a:ext uri="{FF2B5EF4-FFF2-40B4-BE49-F238E27FC236}">
                <a16:creationId xmlns:a16="http://schemas.microsoft.com/office/drawing/2014/main" id="{10D99676-6A1B-4BEB-9897-32CD8F6BDA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055480" y="837136"/>
            <a:ext cx="360000" cy="360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AD7ACD-CB5D-4711-AD37-24CCE085918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 noProof="0"/>
              <a:t>BayWa r.e. Company Presentation 2020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49372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36" userDrawn="1">
          <p15:clr>
            <a:srgbClr val="FBAE40"/>
          </p15:clr>
        </p15:guide>
        <p15:guide id="2" pos="5564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2331C1-F248-4F9A-B913-1ECF64853F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headlin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8DEEAD-C858-4DE2-9E16-7D3D41A4D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0A39-527A-45CF-A911-B921024B92E6}" type="slidenum">
              <a:rPr lang="en-US" smtClean="0"/>
              <a:t>‹#›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D487C19-ED5D-44F2-AECB-32EE2C6012A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2461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CFEEF-548D-47E7-9F1D-3D21C520F8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0A39-527A-45CF-A911-B921024B92E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2499311-1F4C-4C7A-9F37-4C3C828E866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58953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021B37D1-6F10-4868-9644-8E98F676CED5}"/>
              </a:ext>
            </a:extLst>
          </p:cNvPr>
          <p:cNvSpPr/>
          <p:nvPr userDrawn="1"/>
        </p:nvSpPr>
        <p:spPr bwMode="gray">
          <a:xfrm>
            <a:off x="0" y="-9525"/>
            <a:ext cx="8256588" cy="686752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2C540673-DC23-4CE7-AAF9-4DD753659FB8}"/>
              </a:ext>
            </a:extLst>
          </p:cNvPr>
          <p:cNvSpPr/>
          <p:nvPr userDrawn="1"/>
        </p:nvSpPr>
        <p:spPr bwMode="gray">
          <a:xfrm>
            <a:off x="-1" y="-9525"/>
            <a:ext cx="8258175" cy="6867525"/>
          </a:xfrm>
          <a:custGeom>
            <a:avLst/>
            <a:gdLst>
              <a:gd name="connsiteX0" fmla="*/ 0 w 8258175"/>
              <a:gd name="connsiteY0" fmla="*/ 0 h 6858000"/>
              <a:gd name="connsiteX1" fmla="*/ 8258175 w 8258175"/>
              <a:gd name="connsiteY1" fmla="*/ 0 h 6858000"/>
              <a:gd name="connsiteX2" fmla="*/ 8258175 w 8258175"/>
              <a:gd name="connsiteY2" fmla="*/ 6858000 h 6858000"/>
              <a:gd name="connsiteX3" fmla="*/ 0 w 8258175"/>
              <a:gd name="connsiteY3" fmla="*/ 6858000 h 6858000"/>
              <a:gd name="connsiteX4" fmla="*/ 0 w 8258175"/>
              <a:gd name="connsiteY4" fmla="*/ 0 h 6858000"/>
              <a:gd name="connsiteX0" fmla="*/ 0 w 8258175"/>
              <a:gd name="connsiteY0" fmla="*/ 0 h 6869953"/>
              <a:gd name="connsiteX1" fmla="*/ 8258175 w 8258175"/>
              <a:gd name="connsiteY1" fmla="*/ 0 h 6869953"/>
              <a:gd name="connsiteX2" fmla="*/ 7540998 w 8258175"/>
              <a:gd name="connsiteY2" fmla="*/ 6869953 h 6869953"/>
              <a:gd name="connsiteX3" fmla="*/ 0 w 8258175"/>
              <a:gd name="connsiteY3" fmla="*/ 6858000 h 6869953"/>
              <a:gd name="connsiteX4" fmla="*/ 0 w 8258175"/>
              <a:gd name="connsiteY4" fmla="*/ 0 h 6869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8175" h="6869953">
                <a:moveTo>
                  <a:pt x="0" y="0"/>
                </a:moveTo>
                <a:lnTo>
                  <a:pt x="8258175" y="0"/>
                </a:lnTo>
                <a:lnTo>
                  <a:pt x="7540998" y="6869953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8CC74189-3E55-4A45-8D29-F7BD3276D480}"/>
              </a:ext>
            </a:extLst>
          </p:cNvPr>
          <p:cNvSpPr/>
          <p:nvPr userDrawn="1"/>
        </p:nvSpPr>
        <p:spPr bwMode="gray">
          <a:xfrm>
            <a:off x="-1" y="-9526"/>
            <a:ext cx="7535864" cy="6867525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8207593-70E6-49B8-97A9-41E0C0F019AB}"/>
              </a:ext>
            </a:extLst>
          </p:cNvPr>
          <p:cNvSpPr/>
          <p:nvPr userDrawn="1"/>
        </p:nvSpPr>
        <p:spPr bwMode="gray">
          <a:xfrm>
            <a:off x="0" y="-9525"/>
            <a:ext cx="7535863" cy="6867524"/>
          </a:xfrm>
          <a:custGeom>
            <a:avLst/>
            <a:gdLst>
              <a:gd name="connsiteX0" fmla="*/ 0 w 7535863"/>
              <a:gd name="connsiteY0" fmla="*/ 0 h 6858000"/>
              <a:gd name="connsiteX1" fmla="*/ 7535863 w 7535863"/>
              <a:gd name="connsiteY1" fmla="*/ 0 h 6858000"/>
              <a:gd name="connsiteX2" fmla="*/ 7535863 w 7535863"/>
              <a:gd name="connsiteY2" fmla="*/ 6858000 h 6858000"/>
              <a:gd name="connsiteX3" fmla="*/ 0 w 7535863"/>
              <a:gd name="connsiteY3" fmla="*/ 6858000 h 6858000"/>
              <a:gd name="connsiteX4" fmla="*/ 0 w 7535863"/>
              <a:gd name="connsiteY4" fmla="*/ 0 h 6858000"/>
              <a:gd name="connsiteX0" fmla="*/ 0 w 7535863"/>
              <a:gd name="connsiteY0" fmla="*/ 0 h 6858000"/>
              <a:gd name="connsiteX1" fmla="*/ 7535863 w 7535863"/>
              <a:gd name="connsiteY1" fmla="*/ 0 h 6858000"/>
              <a:gd name="connsiteX2" fmla="*/ 6119439 w 7535863"/>
              <a:gd name="connsiteY2" fmla="*/ 6858000 h 6858000"/>
              <a:gd name="connsiteX3" fmla="*/ 0 w 7535863"/>
              <a:gd name="connsiteY3" fmla="*/ 6858000 h 6858000"/>
              <a:gd name="connsiteX4" fmla="*/ 0 w 753586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35863" h="6858000">
                <a:moveTo>
                  <a:pt x="0" y="0"/>
                </a:moveTo>
                <a:lnTo>
                  <a:pt x="7535863" y="0"/>
                </a:lnTo>
                <a:lnTo>
                  <a:pt x="611943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1AC40C6-4EF3-4113-AB1E-AB7F29FF4F1D}"/>
              </a:ext>
            </a:extLst>
          </p:cNvPr>
          <p:cNvSpPr/>
          <p:nvPr userDrawn="1"/>
        </p:nvSpPr>
        <p:spPr bwMode="gray">
          <a:xfrm>
            <a:off x="0" y="1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EA7E1995-EED0-4680-BB59-73BA13D335C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 bwMode="black">
          <a:xfrm>
            <a:off x="8688632" y="4869011"/>
            <a:ext cx="3096000" cy="144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itel 2">
            <a:extLst>
              <a:ext uri="{FF2B5EF4-FFF2-40B4-BE49-F238E27FC236}">
                <a16:creationId xmlns:a16="http://schemas.microsoft.com/office/drawing/2014/main" id="{46B7FE29-1F6B-4A14-B0CE-B68BFE147FB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black">
          <a:xfrm>
            <a:off x="8688632" y="3909159"/>
            <a:ext cx="3096000" cy="648000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4CE18123-3781-48F5-9C40-472F000088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07368" y="404664"/>
            <a:ext cx="215900" cy="216000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2087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3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0000">
                                          <p:cBhvr additive="base">
                                            <p:cTn id="7" dur="20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0000">
                                          <p:cBhvr additive="base">
                                            <p:cTn id="8" dur="20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3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0000">
                                          <p:cBhvr additive="base">
                                            <p:cTn id="11" dur="2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0000">
                                          <p:cBhvr additive="base">
                                            <p:cTn id="12" dur="2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3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0000">
                                          <p:cBhvr additive="base">
                                            <p:cTn id="15" dur="2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0000">
                                          <p:cBhvr additive="base">
                                            <p:cTn id="16" dur="2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 p14:presetBounceEnd="3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0000">
                                          <p:cBhvr additive="base">
                                            <p:cTn id="19" dur="2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0000">
                                          <p:cBhvr additive="base">
                                            <p:cTn id="20" dur="2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 p14:presetBounceEnd="3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0000">
                                          <p:cBhvr additive="base">
                                            <p:cTn id="23" dur="2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0000">
                                          <p:cBhvr additive="base">
                                            <p:cTn id="24" dur="2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2" grpId="0" animBg="1"/>
          <p:bldP spid="32" grpId="1" animBg="1"/>
          <p:bldP spid="30" grpId="0" animBg="1"/>
          <p:bldP spid="30" grpId="1" animBg="1"/>
          <p:bldP spid="33" grpId="0" animBg="1"/>
          <p:bldP spid="33" grpId="1" animBg="1"/>
          <p:bldP spid="34" grpId="0" animBg="1"/>
          <p:bldP spid="34" grpId="1" animBg="1"/>
          <p:bldP spid="15" grpId="0" animBg="1"/>
          <p:bldP spid="15" grpId="1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2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2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2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2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2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2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2" grpId="0" animBg="1"/>
          <p:bldP spid="32" grpId="1" animBg="1"/>
          <p:bldP spid="30" grpId="0" animBg="1"/>
          <p:bldP spid="30" grpId="1" animBg="1"/>
          <p:bldP spid="33" grpId="0" animBg="1"/>
          <p:bldP spid="33" grpId="1" animBg="1"/>
          <p:bldP spid="34" grpId="0" animBg="1"/>
          <p:bldP spid="34" grpId="1" animBg="1"/>
          <p:bldP spid="15" grpId="0" animBg="1"/>
          <p:bldP spid="15" grpId="1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pos="5201" userDrawn="1">
          <p15:clr>
            <a:srgbClr val="FBAE40"/>
          </p15:clr>
        </p15:guide>
        <p15:guide id="2" pos="4747" userDrawn="1">
          <p15:clr>
            <a:srgbClr val="FBAE40"/>
          </p15:clr>
        </p15:guide>
        <p15:guide id="3" pos="3840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r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8636068-1D4C-4D74-93D9-04BBFE097B20}"/>
              </a:ext>
            </a:extLst>
          </p:cNvPr>
          <p:cNvSpPr/>
          <p:nvPr userDrawn="1"/>
        </p:nvSpPr>
        <p:spPr>
          <a:xfrm>
            <a:off x="407988" y="3212976"/>
            <a:ext cx="5688321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l"/>
            <a:r>
              <a:rPr lang="en-US" sz="1200"/>
              <a:t>© Copyright </a:t>
            </a:r>
            <a:r>
              <a:rPr lang="en-US" sz="1200" err="1"/>
              <a:t>BayWa</a:t>
            </a:r>
            <a:r>
              <a:rPr lang="en-US" sz="1200"/>
              <a:t> r.e. renewable energy GmbH, 2020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81A8415-BA5D-4DCD-83D5-A1DDC11E9F7E}"/>
              </a:ext>
            </a:extLst>
          </p:cNvPr>
          <p:cNvSpPr/>
          <p:nvPr userDrawn="1"/>
        </p:nvSpPr>
        <p:spPr>
          <a:xfrm>
            <a:off x="407989" y="3645336"/>
            <a:ext cx="5688012" cy="28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t"/>
          <a:lstStyle/>
          <a:p>
            <a:pPr algn="l"/>
            <a:r>
              <a:rPr lang="en-US" sz="1200"/>
              <a:t>The content of this presentation (including text, graphics, photos, tables, logos, etc.) and the presentation itself are protected by copyright. </a:t>
            </a:r>
            <a:br>
              <a:rPr lang="en-US" sz="1200"/>
            </a:br>
            <a:r>
              <a:rPr lang="en-US" sz="1200"/>
              <a:t>They were created by </a:t>
            </a:r>
            <a:r>
              <a:rPr lang="en-US" sz="1200" err="1"/>
              <a:t>BayWa</a:t>
            </a:r>
            <a:r>
              <a:rPr lang="en-US" sz="1200"/>
              <a:t> </a:t>
            </a:r>
            <a:r>
              <a:rPr lang="en-US" sz="1200" err="1"/>
              <a:t>r.e</a:t>
            </a:r>
            <a:r>
              <a:rPr lang="en-US" sz="1200"/>
              <a:t>. renewable energy GmbH independently. </a:t>
            </a:r>
          </a:p>
          <a:p>
            <a:pPr algn="l"/>
            <a:endParaRPr lang="en-US" sz="1200"/>
          </a:p>
          <a:p>
            <a:pPr algn="l"/>
            <a:r>
              <a:rPr lang="en-US" sz="1200"/>
              <a:t>Any dissemination of the presentation and/or content or parts thereof is only permitted with written permission by </a:t>
            </a:r>
            <a:r>
              <a:rPr lang="en-US" sz="1200" err="1"/>
              <a:t>BayWa</a:t>
            </a:r>
            <a:r>
              <a:rPr lang="en-US" sz="1200"/>
              <a:t> </a:t>
            </a:r>
            <a:r>
              <a:rPr lang="en-US" sz="1200" err="1"/>
              <a:t>r.e</a:t>
            </a:r>
            <a:r>
              <a:rPr lang="en-US" sz="1200"/>
              <a:t>. Without written permission of </a:t>
            </a:r>
            <a:r>
              <a:rPr lang="en-US" sz="1200" err="1"/>
              <a:t>BayWa</a:t>
            </a:r>
            <a:r>
              <a:rPr lang="en-US" sz="1200"/>
              <a:t> </a:t>
            </a:r>
            <a:r>
              <a:rPr lang="en-US" sz="1200" err="1"/>
              <a:t>r.e</a:t>
            </a:r>
            <a:r>
              <a:rPr lang="en-US" sz="1200"/>
              <a:t>., this document and/or parts of it must not be passed on, modified, published, translated or reproduced, either by photocopies, or by others – </a:t>
            </a:r>
            <a:br>
              <a:rPr lang="en-US" sz="1200"/>
            </a:br>
            <a:r>
              <a:rPr lang="en-US" sz="1200"/>
              <a:t>in particular by electronic procedures. This reservation also extends to inclusion</a:t>
            </a:r>
            <a:br>
              <a:rPr lang="en-US" sz="1200"/>
            </a:br>
            <a:r>
              <a:rPr lang="en-US" sz="1200"/>
              <a:t>in or evaluation by databases. Infringements will be prosecuted.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C4466E2-24B4-4271-B9DA-FFBB2E80FC37}"/>
              </a:ext>
            </a:extLst>
          </p:cNvPr>
          <p:cNvSpPr/>
          <p:nvPr userDrawn="1"/>
        </p:nvSpPr>
        <p:spPr>
          <a:xfrm>
            <a:off x="407368" y="2708920"/>
            <a:ext cx="11376644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l"/>
            <a:r>
              <a:rPr lang="en-US" sz="3600" b="1">
                <a:solidFill>
                  <a:schemeClr val="accent1"/>
                </a:solidFill>
              </a:rPr>
              <a:t>Copyright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02722E55-A0D1-4EF4-84CF-404EBB28F6A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407368" y="404664"/>
            <a:ext cx="215900" cy="216000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0262612"/>
      </p:ext>
    </p:extLst>
  </p:cSld>
  <p:clrMapOvr>
    <a:masterClrMapping/>
  </p:clrMapOvr>
  <p:transition spd="slow">
    <p:push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+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BA9563-9899-4D44-BBEE-E4A87B9EA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add</a:t>
            </a:r>
            <a:r>
              <a:rPr lang="de-DE" noProof="0"/>
              <a:t> </a:t>
            </a:r>
            <a:r>
              <a:rPr lang="de-DE" noProof="0" err="1"/>
              <a:t>headline</a:t>
            </a:r>
            <a:endParaRPr lang="de-DE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9C112-EC0F-41F8-9E40-2EAA0699FEF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07368" y="4221328"/>
            <a:ext cx="3528000" cy="21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77CAE0-D6D7-4B1E-8520-03064F08E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B140A39-527A-45CF-A911-B921024B92E6}" type="slidenum">
              <a:rPr lang="de-DE" noProof="0" smtClean="0"/>
              <a:t>‹#›</a:t>
            </a:fld>
            <a:endParaRPr lang="de-DE" noProof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303AFD8-5FF3-478A-90C4-E2B75445371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296208" y="4221328"/>
            <a:ext cx="3600000" cy="21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7EAB4C6-5D44-4E06-8CE0-3E354C13AD53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8256588" y="4221328"/>
            <a:ext cx="3528044" cy="21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Bildplatzhalter 26">
            <a:extLst>
              <a:ext uri="{FF2B5EF4-FFF2-40B4-BE49-F238E27FC236}">
                <a16:creationId xmlns:a16="http://schemas.microsoft.com/office/drawing/2014/main" id="{A31A76E7-8A08-4835-9BB3-DD76DA58382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07368" y="1557033"/>
            <a:ext cx="3528000" cy="2520000"/>
          </a:xfrm>
          <a:solidFill>
            <a:schemeClr val="accent3"/>
          </a:solidFill>
        </p:spPr>
        <p:txBody>
          <a:bodyPr tIns="144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o </a:t>
            </a:r>
            <a:r>
              <a:rPr lang="de-DE" noProof="0" err="1"/>
              <a:t>add</a:t>
            </a:r>
            <a:r>
              <a:rPr lang="de-DE" noProof="0"/>
              <a:t> a </a:t>
            </a:r>
            <a:r>
              <a:rPr lang="de-DE" noProof="0" err="1"/>
              <a:t>picture</a:t>
            </a:r>
            <a:r>
              <a:rPr lang="de-DE" noProof="0"/>
              <a:t>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endParaRPr lang="de-DE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4CDBF24-5390-4A68-BA81-F1A3A4A4EA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7368" y="1557032"/>
            <a:ext cx="647389" cy="2520000"/>
          </a:xfrm>
          <a:solidFill>
            <a:schemeClr val="accent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  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12E1E28A-E2C5-431B-9D97-9E427B33736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055680" y="1557032"/>
            <a:ext cx="360000" cy="2520000"/>
          </a:xfrm>
          <a:custGeom>
            <a:avLst/>
            <a:gdLst>
              <a:gd name="connsiteX0" fmla="*/ 0 w 719210"/>
              <a:gd name="connsiteY0" fmla="*/ 0 h 6856269"/>
              <a:gd name="connsiteX1" fmla="*/ 719210 w 719210"/>
              <a:gd name="connsiteY1" fmla="*/ 0 h 6856269"/>
              <a:gd name="connsiteX2" fmla="*/ 719210 w 719210"/>
              <a:gd name="connsiteY2" fmla="*/ 6 h 6856269"/>
              <a:gd name="connsiteX3" fmla="*/ 0 w 719210"/>
              <a:gd name="connsiteY3" fmla="*/ 6856269 h 6856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210" h="6856269">
                <a:moveTo>
                  <a:pt x="0" y="0"/>
                </a:moveTo>
                <a:lnTo>
                  <a:pt x="719210" y="0"/>
                </a:lnTo>
                <a:lnTo>
                  <a:pt x="719210" y="6"/>
                </a:lnTo>
                <a:lnTo>
                  <a:pt x="0" y="6856269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de-DE" noProof="0"/>
              <a:t> 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1A345EC7-DDC4-4BBD-801A-B4E5E6FA27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055680" y="1557033"/>
            <a:ext cx="360000" cy="252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de-DE" noProof="0"/>
              <a:t> 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3399AB04-C995-406D-8DB4-C48AFE53B8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07988" y="3501304"/>
            <a:ext cx="3528000" cy="504000"/>
          </a:xfrm>
        </p:spPr>
        <p:txBody>
          <a:bodyPr lIns="108000" tIns="72000" rIns="108000" bIns="72000"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add</a:t>
            </a:r>
            <a:r>
              <a:rPr lang="de-DE" noProof="0"/>
              <a:t> </a:t>
            </a:r>
            <a:r>
              <a:rPr lang="de-DE" noProof="0" err="1"/>
              <a:t>text</a:t>
            </a:r>
            <a:endParaRPr lang="de-DE" noProof="0"/>
          </a:p>
        </p:txBody>
      </p:sp>
      <p:sp>
        <p:nvSpPr>
          <p:cNvPr id="22" name="Bildplatzhalter 26">
            <a:extLst>
              <a:ext uri="{FF2B5EF4-FFF2-40B4-BE49-F238E27FC236}">
                <a16:creationId xmlns:a16="http://schemas.microsoft.com/office/drawing/2014/main" id="{BDB8699D-2779-445A-AD00-86BCF020EA6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4296216" y="1557032"/>
            <a:ext cx="3600000" cy="2520000"/>
          </a:xfrm>
          <a:solidFill>
            <a:schemeClr val="accent3"/>
          </a:solidFill>
        </p:spPr>
        <p:txBody>
          <a:bodyPr tIns="144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o </a:t>
            </a:r>
            <a:r>
              <a:rPr lang="de-DE" noProof="0" err="1"/>
              <a:t>add</a:t>
            </a:r>
            <a:r>
              <a:rPr lang="de-DE" noProof="0"/>
              <a:t> a </a:t>
            </a:r>
            <a:r>
              <a:rPr lang="de-DE" noProof="0" err="1"/>
              <a:t>picture</a:t>
            </a:r>
            <a:r>
              <a:rPr lang="de-DE" noProof="0"/>
              <a:t>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endParaRPr lang="de-DE" noProof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355960B4-F763-4BC9-B03E-9B8DE0C4E97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296216" y="1557031"/>
            <a:ext cx="647389" cy="2520000"/>
          </a:xfrm>
          <a:solidFill>
            <a:schemeClr val="accent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  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B3885E46-5D2A-4373-92BA-8ADD2730830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944528" y="1557031"/>
            <a:ext cx="360000" cy="2520000"/>
          </a:xfrm>
          <a:custGeom>
            <a:avLst/>
            <a:gdLst>
              <a:gd name="connsiteX0" fmla="*/ 0 w 719210"/>
              <a:gd name="connsiteY0" fmla="*/ 0 h 6856269"/>
              <a:gd name="connsiteX1" fmla="*/ 719210 w 719210"/>
              <a:gd name="connsiteY1" fmla="*/ 0 h 6856269"/>
              <a:gd name="connsiteX2" fmla="*/ 719210 w 719210"/>
              <a:gd name="connsiteY2" fmla="*/ 6 h 6856269"/>
              <a:gd name="connsiteX3" fmla="*/ 0 w 719210"/>
              <a:gd name="connsiteY3" fmla="*/ 6856269 h 6856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210" h="6856269">
                <a:moveTo>
                  <a:pt x="0" y="0"/>
                </a:moveTo>
                <a:lnTo>
                  <a:pt x="719210" y="0"/>
                </a:lnTo>
                <a:lnTo>
                  <a:pt x="719210" y="6"/>
                </a:lnTo>
                <a:lnTo>
                  <a:pt x="0" y="6856269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de-DE" noProof="0"/>
              <a:t> 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639D2DE5-0E64-4D3D-8114-68EE7A93873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944528" y="1557032"/>
            <a:ext cx="360000" cy="252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de-DE" noProof="0"/>
              <a:t>  </a:t>
            </a:r>
          </a:p>
        </p:txBody>
      </p:sp>
      <p:sp>
        <p:nvSpPr>
          <p:cNvPr id="26" name="Textplatzhalter 16">
            <a:extLst>
              <a:ext uri="{FF2B5EF4-FFF2-40B4-BE49-F238E27FC236}">
                <a16:creationId xmlns:a16="http://schemas.microsoft.com/office/drawing/2014/main" id="{9DFBC0CB-6FE8-49D0-AE32-4AC45A962D9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296836" y="3501304"/>
            <a:ext cx="3600000" cy="504000"/>
          </a:xfrm>
        </p:spPr>
        <p:txBody>
          <a:bodyPr lIns="108000" tIns="72000" rIns="108000" bIns="72000"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add</a:t>
            </a:r>
            <a:r>
              <a:rPr lang="de-DE" noProof="0"/>
              <a:t> </a:t>
            </a:r>
            <a:r>
              <a:rPr lang="de-DE" noProof="0" err="1"/>
              <a:t>text</a:t>
            </a:r>
            <a:endParaRPr lang="de-DE" noProof="0"/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972C4A7C-0C18-4AA1-AC9C-BDAC2FEC3339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8256240" y="1557032"/>
            <a:ext cx="3528000" cy="2520000"/>
          </a:xfrm>
          <a:solidFill>
            <a:schemeClr val="accent3"/>
          </a:solidFill>
        </p:spPr>
        <p:txBody>
          <a:bodyPr tIns="1440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o </a:t>
            </a:r>
            <a:r>
              <a:rPr lang="de-DE" noProof="0" err="1"/>
              <a:t>add</a:t>
            </a:r>
            <a:r>
              <a:rPr lang="de-DE" noProof="0"/>
              <a:t> a </a:t>
            </a:r>
            <a:r>
              <a:rPr lang="de-DE" noProof="0" err="1"/>
              <a:t>picture</a:t>
            </a:r>
            <a:r>
              <a:rPr lang="de-DE" noProof="0"/>
              <a:t>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endParaRPr lang="de-DE" noProof="0"/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4B80ABB8-64AF-42BC-8032-58D1A9B2BF2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256240" y="1557032"/>
            <a:ext cx="648000" cy="2520000"/>
          </a:xfrm>
          <a:solidFill>
            <a:schemeClr val="accent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  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A441B42D-15C6-4193-9FD0-DBA82597C56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04352" y="1557032"/>
            <a:ext cx="360000" cy="2520000"/>
          </a:xfrm>
          <a:custGeom>
            <a:avLst/>
            <a:gdLst>
              <a:gd name="connsiteX0" fmla="*/ 0 w 719210"/>
              <a:gd name="connsiteY0" fmla="*/ 0 h 6856269"/>
              <a:gd name="connsiteX1" fmla="*/ 719210 w 719210"/>
              <a:gd name="connsiteY1" fmla="*/ 0 h 6856269"/>
              <a:gd name="connsiteX2" fmla="*/ 719210 w 719210"/>
              <a:gd name="connsiteY2" fmla="*/ 6 h 6856269"/>
              <a:gd name="connsiteX3" fmla="*/ 0 w 719210"/>
              <a:gd name="connsiteY3" fmla="*/ 6856269 h 6856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210" h="6856269">
                <a:moveTo>
                  <a:pt x="0" y="0"/>
                </a:moveTo>
                <a:lnTo>
                  <a:pt x="719210" y="0"/>
                </a:lnTo>
                <a:lnTo>
                  <a:pt x="719210" y="6"/>
                </a:lnTo>
                <a:lnTo>
                  <a:pt x="0" y="6856269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de-DE" noProof="0"/>
              <a:t> 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7786CB21-3C4B-492B-B4C9-E3159217FC9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04312" y="1557032"/>
            <a:ext cx="360000" cy="2520000"/>
          </a:xfrm>
          <a:custGeom>
            <a:avLst/>
            <a:gdLst>
              <a:gd name="connsiteX0" fmla="*/ 0 w 719840"/>
              <a:gd name="connsiteY0" fmla="*/ 0 h 6885383"/>
              <a:gd name="connsiteX1" fmla="*/ 719840 w 719840"/>
              <a:gd name="connsiteY1" fmla="*/ 0 h 6885383"/>
              <a:gd name="connsiteX2" fmla="*/ 719840 w 719840"/>
              <a:gd name="connsiteY2" fmla="*/ 6885383 h 6885383"/>
              <a:gd name="connsiteX3" fmla="*/ 0 w 719840"/>
              <a:gd name="connsiteY3" fmla="*/ 6885383 h 6885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9840" h="6885383">
                <a:moveTo>
                  <a:pt x="0" y="0"/>
                </a:moveTo>
                <a:lnTo>
                  <a:pt x="719840" y="0"/>
                </a:lnTo>
                <a:lnTo>
                  <a:pt x="719840" y="6885383"/>
                </a:lnTo>
                <a:lnTo>
                  <a:pt x="0" y="6885383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de-DE" noProof="0"/>
              <a:t>  </a:t>
            </a:r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04DBD1DA-208B-4A2B-9235-91AA274863C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8256761" y="3501304"/>
            <a:ext cx="3528000" cy="504000"/>
          </a:xfrm>
        </p:spPr>
        <p:txBody>
          <a:bodyPr lIns="108000" tIns="72000" rIns="108000" bIns="72000"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1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add</a:t>
            </a:r>
            <a:r>
              <a:rPr lang="de-DE" noProof="0"/>
              <a:t> </a:t>
            </a:r>
            <a:r>
              <a:rPr lang="de-DE" noProof="0" err="1"/>
              <a:t>text</a:t>
            </a:r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082493A-796E-44DD-9F72-6717EB7E3E86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 bwMode="gray"/>
        <p:txBody>
          <a:bodyPr/>
          <a:lstStyle/>
          <a:p>
            <a:r>
              <a:rPr lang="en-US"/>
              <a:t>BayWa r.e. AG Company Presentation 2023</a:t>
            </a:r>
            <a:endParaRPr lang="de-DE"/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BA536E2-E88D-4392-BE87-617217DAECCC}"/>
              </a:ext>
            </a:extLst>
          </p:cNvPr>
          <p:cNvSpPr/>
          <p:nvPr userDrawn="1"/>
        </p:nvSpPr>
        <p:spPr bwMode="gray">
          <a:xfrm>
            <a:off x="12316070" y="1556792"/>
            <a:ext cx="1548000" cy="20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1000" b="1" err="1">
                <a:solidFill>
                  <a:schemeClr val="tx1"/>
                </a:solidFill>
              </a:rPr>
              <a:t>Remark</a:t>
            </a:r>
            <a:r>
              <a:rPr lang="de-DE" sz="1000" b="1">
                <a:solidFill>
                  <a:schemeClr val="tx1"/>
                </a:solidFill>
              </a:rPr>
              <a:t>:</a:t>
            </a:r>
          </a:p>
          <a:p>
            <a:pPr algn="l"/>
            <a:r>
              <a:rPr lang="de-DE" sz="1000" b="0" err="1">
                <a:solidFill>
                  <a:schemeClr val="tx1"/>
                </a:solidFill>
              </a:rPr>
              <a:t>Each</a:t>
            </a:r>
            <a:r>
              <a:rPr lang="de-DE" sz="1000" b="0">
                <a:solidFill>
                  <a:schemeClr val="tx1"/>
                </a:solidFill>
              </a:rPr>
              <a:t> </a:t>
            </a:r>
            <a:r>
              <a:rPr lang="de-DE" sz="1000" b="0" err="1">
                <a:solidFill>
                  <a:schemeClr val="tx1"/>
                </a:solidFill>
              </a:rPr>
              <a:t>text</a:t>
            </a:r>
            <a:r>
              <a:rPr lang="de-DE" sz="1000" b="0">
                <a:solidFill>
                  <a:schemeClr val="tx1"/>
                </a:solidFill>
              </a:rPr>
              <a:t> </a:t>
            </a:r>
            <a:r>
              <a:rPr lang="de-DE" sz="1000" b="0" err="1">
                <a:solidFill>
                  <a:schemeClr val="tx1"/>
                </a:solidFill>
              </a:rPr>
              <a:t>placeholder</a:t>
            </a:r>
            <a:r>
              <a:rPr lang="de-DE" sz="1000" b="0">
                <a:solidFill>
                  <a:schemeClr val="tx1"/>
                </a:solidFill>
              </a:rPr>
              <a:t> </a:t>
            </a:r>
            <a:r>
              <a:rPr lang="de-DE" sz="1000" b="0" err="1">
                <a:solidFill>
                  <a:schemeClr val="tx1"/>
                </a:solidFill>
              </a:rPr>
              <a:t>contains</a:t>
            </a:r>
            <a:r>
              <a:rPr lang="de-DE" sz="1000" b="0">
                <a:solidFill>
                  <a:schemeClr val="tx1"/>
                </a:solidFill>
              </a:rPr>
              <a:t> different </a:t>
            </a:r>
            <a:r>
              <a:rPr lang="de-DE" sz="1000" b="0" err="1">
                <a:solidFill>
                  <a:schemeClr val="tx1"/>
                </a:solidFill>
              </a:rPr>
              <a:t>text</a:t>
            </a:r>
            <a:r>
              <a:rPr lang="de-DE" sz="1000" b="0">
                <a:solidFill>
                  <a:schemeClr val="tx1"/>
                </a:solidFill>
              </a:rPr>
              <a:t> </a:t>
            </a:r>
            <a:r>
              <a:rPr lang="de-DE" sz="1000" b="0" err="1">
                <a:solidFill>
                  <a:schemeClr val="tx1"/>
                </a:solidFill>
              </a:rPr>
              <a:t>levels</a:t>
            </a:r>
            <a:r>
              <a:rPr lang="de-DE" sz="1000" b="0">
                <a:solidFill>
                  <a:schemeClr val="tx1"/>
                </a:solidFill>
              </a:rPr>
              <a:t>. </a:t>
            </a:r>
            <a:r>
              <a:rPr lang="de-DE" sz="1000" b="0" err="1">
                <a:solidFill>
                  <a:schemeClr val="tx1"/>
                </a:solidFill>
              </a:rPr>
              <a:t>Please</a:t>
            </a:r>
            <a:r>
              <a:rPr lang="de-DE" sz="1000" b="0">
                <a:solidFill>
                  <a:schemeClr val="tx1"/>
                </a:solidFill>
              </a:rPr>
              <a:t> </a:t>
            </a:r>
            <a:r>
              <a:rPr lang="de-DE" sz="1000" b="0" err="1">
                <a:solidFill>
                  <a:schemeClr val="tx1"/>
                </a:solidFill>
              </a:rPr>
              <a:t>click</a:t>
            </a:r>
            <a:r>
              <a:rPr lang="de-DE" sz="1000" b="0">
                <a:solidFill>
                  <a:schemeClr val="tx1"/>
                </a:solidFill>
              </a:rPr>
              <a:t> in front of </a:t>
            </a:r>
            <a:r>
              <a:rPr lang="de-DE" sz="1000" b="0" err="1">
                <a:solidFill>
                  <a:schemeClr val="tx1"/>
                </a:solidFill>
              </a:rPr>
              <a:t>the</a:t>
            </a:r>
            <a:r>
              <a:rPr lang="de-DE" sz="1000" b="0">
                <a:solidFill>
                  <a:schemeClr val="tx1"/>
                </a:solidFill>
              </a:rPr>
              <a:t> </a:t>
            </a:r>
            <a:r>
              <a:rPr lang="de-DE" sz="1000" b="0" err="1">
                <a:solidFill>
                  <a:schemeClr val="tx1"/>
                </a:solidFill>
              </a:rPr>
              <a:t>respective</a:t>
            </a:r>
            <a:r>
              <a:rPr lang="de-DE" sz="1000" b="0">
                <a:solidFill>
                  <a:schemeClr val="tx1"/>
                </a:solidFill>
              </a:rPr>
              <a:t> </a:t>
            </a:r>
            <a:r>
              <a:rPr lang="de-DE" sz="1000" b="0" err="1">
                <a:solidFill>
                  <a:schemeClr val="tx1"/>
                </a:solidFill>
              </a:rPr>
              <a:t>text</a:t>
            </a:r>
            <a:r>
              <a:rPr lang="de-DE" sz="1000" b="0">
                <a:solidFill>
                  <a:schemeClr val="tx1"/>
                </a:solidFill>
              </a:rPr>
              <a:t> and </a:t>
            </a:r>
            <a:r>
              <a:rPr lang="de-DE" sz="1000" b="0" err="1">
                <a:solidFill>
                  <a:schemeClr val="tx1"/>
                </a:solidFill>
              </a:rPr>
              <a:t>then</a:t>
            </a:r>
            <a:r>
              <a:rPr lang="de-DE" sz="1000" b="0">
                <a:solidFill>
                  <a:schemeClr val="tx1"/>
                </a:solidFill>
              </a:rPr>
              <a:t> on </a:t>
            </a:r>
            <a:r>
              <a:rPr lang="de-DE" sz="1000" b="0" err="1">
                <a:solidFill>
                  <a:schemeClr val="tx1"/>
                </a:solidFill>
              </a:rPr>
              <a:t>the</a:t>
            </a:r>
            <a:r>
              <a:rPr lang="de-DE" sz="1000" b="0">
                <a:solidFill>
                  <a:schemeClr val="tx1"/>
                </a:solidFill>
              </a:rPr>
              <a:t> "</a:t>
            </a:r>
            <a:r>
              <a:rPr lang="de-DE" sz="1000" b="0" err="1">
                <a:solidFill>
                  <a:schemeClr val="tx1"/>
                </a:solidFill>
              </a:rPr>
              <a:t>start</a:t>
            </a:r>
            <a:r>
              <a:rPr lang="de-DE" sz="1000" b="0">
                <a:solidFill>
                  <a:schemeClr val="tx1"/>
                </a:solidFill>
              </a:rPr>
              <a:t>" tab. In </a:t>
            </a:r>
            <a:r>
              <a:rPr lang="de-DE" sz="1000" b="0" err="1">
                <a:solidFill>
                  <a:schemeClr val="tx1"/>
                </a:solidFill>
              </a:rPr>
              <a:t>the</a:t>
            </a:r>
            <a:r>
              <a:rPr lang="de-DE" sz="1000" b="0">
                <a:solidFill>
                  <a:schemeClr val="tx1"/>
                </a:solidFill>
              </a:rPr>
              <a:t> </a:t>
            </a:r>
            <a:r>
              <a:rPr lang="de-DE" sz="1000" b="0" err="1">
                <a:solidFill>
                  <a:schemeClr val="tx1"/>
                </a:solidFill>
              </a:rPr>
              <a:t>section</a:t>
            </a:r>
            <a:r>
              <a:rPr lang="de-DE" sz="1000" b="0">
                <a:solidFill>
                  <a:schemeClr val="tx1"/>
                </a:solidFill>
              </a:rPr>
              <a:t> "</a:t>
            </a:r>
            <a:r>
              <a:rPr lang="de-DE" sz="1000" b="0" err="1">
                <a:solidFill>
                  <a:schemeClr val="tx1"/>
                </a:solidFill>
              </a:rPr>
              <a:t>paragraph</a:t>
            </a:r>
            <a:r>
              <a:rPr lang="de-DE" sz="1000" b="0">
                <a:solidFill>
                  <a:schemeClr val="tx1"/>
                </a:solidFill>
              </a:rPr>
              <a:t>" </a:t>
            </a:r>
            <a:r>
              <a:rPr lang="de-DE" sz="1000" b="0" err="1">
                <a:solidFill>
                  <a:schemeClr val="tx1"/>
                </a:solidFill>
              </a:rPr>
              <a:t>you</a:t>
            </a:r>
            <a:r>
              <a:rPr lang="de-DE" sz="1000" b="0">
                <a:solidFill>
                  <a:schemeClr val="tx1"/>
                </a:solidFill>
              </a:rPr>
              <a:t> will find </a:t>
            </a:r>
            <a:r>
              <a:rPr lang="de-DE" sz="1000" b="0" err="1">
                <a:solidFill>
                  <a:schemeClr val="tx1"/>
                </a:solidFill>
              </a:rPr>
              <a:t>the</a:t>
            </a:r>
            <a:r>
              <a:rPr lang="de-DE" sz="1000" b="0">
                <a:solidFill>
                  <a:schemeClr val="tx1"/>
                </a:solidFill>
              </a:rPr>
              <a:t> </a:t>
            </a:r>
            <a:r>
              <a:rPr lang="de-DE" sz="1000" b="0" err="1">
                <a:solidFill>
                  <a:schemeClr val="tx1"/>
                </a:solidFill>
              </a:rPr>
              <a:t>following</a:t>
            </a:r>
            <a:r>
              <a:rPr lang="de-DE" sz="1000" b="0">
                <a:solidFill>
                  <a:schemeClr val="tx1"/>
                </a:solidFill>
              </a:rPr>
              <a:t> </a:t>
            </a:r>
            <a:r>
              <a:rPr lang="de-DE" sz="1000" b="0" err="1">
                <a:solidFill>
                  <a:schemeClr val="tx1"/>
                </a:solidFill>
              </a:rPr>
              <a:t>character</a:t>
            </a:r>
            <a:r>
              <a:rPr lang="de-DE" sz="1000" b="0">
                <a:solidFill>
                  <a:schemeClr val="tx1"/>
                </a:solidFill>
              </a:rPr>
              <a:t> to </a:t>
            </a:r>
            <a:r>
              <a:rPr lang="de-DE" sz="1000" b="0" err="1">
                <a:solidFill>
                  <a:schemeClr val="tx1"/>
                </a:solidFill>
              </a:rPr>
              <a:t>increase</a:t>
            </a:r>
            <a:r>
              <a:rPr lang="de-DE" sz="1000" b="0">
                <a:solidFill>
                  <a:schemeClr val="tx1"/>
                </a:solidFill>
              </a:rPr>
              <a:t> </a:t>
            </a:r>
            <a:r>
              <a:rPr lang="de-DE" sz="1000" b="0" err="1">
                <a:solidFill>
                  <a:schemeClr val="tx1"/>
                </a:solidFill>
              </a:rPr>
              <a:t>or</a:t>
            </a:r>
            <a:r>
              <a:rPr lang="de-DE" sz="1000" b="0">
                <a:solidFill>
                  <a:schemeClr val="tx1"/>
                </a:solidFill>
              </a:rPr>
              <a:t> </a:t>
            </a:r>
            <a:r>
              <a:rPr lang="de-DE" sz="1000" b="0" err="1">
                <a:solidFill>
                  <a:schemeClr val="tx1"/>
                </a:solidFill>
              </a:rPr>
              <a:t>decrease</a:t>
            </a:r>
            <a:br>
              <a:rPr lang="de-DE" sz="1000" b="0">
                <a:solidFill>
                  <a:schemeClr val="tx1"/>
                </a:solidFill>
              </a:rPr>
            </a:br>
            <a:r>
              <a:rPr lang="de-DE" sz="1000" b="0" err="1">
                <a:solidFill>
                  <a:schemeClr val="tx1"/>
                </a:solidFill>
              </a:rPr>
              <a:t>the</a:t>
            </a:r>
            <a:r>
              <a:rPr lang="de-DE" sz="1000" b="0">
                <a:solidFill>
                  <a:schemeClr val="tx1"/>
                </a:solidFill>
              </a:rPr>
              <a:t> </a:t>
            </a:r>
            <a:r>
              <a:rPr lang="de-DE" sz="1000" b="0" err="1">
                <a:solidFill>
                  <a:schemeClr val="tx1"/>
                </a:solidFill>
              </a:rPr>
              <a:t>list</a:t>
            </a:r>
            <a:r>
              <a:rPr lang="de-DE" sz="1000" b="0">
                <a:solidFill>
                  <a:schemeClr val="tx1"/>
                </a:solidFill>
              </a:rPr>
              <a:t> </a:t>
            </a:r>
            <a:r>
              <a:rPr lang="de-DE" sz="1000" b="0" err="1">
                <a:solidFill>
                  <a:schemeClr val="tx1"/>
                </a:solidFill>
              </a:rPr>
              <a:t>level</a:t>
            </a:r>
            <a:r>
              <a:rPr lang="de-DE" sz="1000" b="0">
                <a:solidFill>
                  <a:schemeClr val="tx1"/>
                </a:solidFill>
              </a:rPr>
              <a:t>:</a:t>
            </a: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EB3D9CCB-E444-4A2E-8A4C-ADD8ABCA3D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32704" y="3356992"/>
            <a:ext cx="476316" cy="228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20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479">
          <p15:clr>
            <a:srgbClr val="FBAE40"/>
          </p15:clr>
        </p15:guide>
        <p15:guide id="4" pos="2706">
          <p15:clr>
            <a:srgbClr val="FBAE40"/>
          </p15:clr>
        </p15:guide>
        <p15:guide id="5" pos="4974">
          <p15:clr>
            <a:srgbClr val="FBAE40"/>
          </p15:clr>
        </p15:guide>
        <p15:guide id="6" pos="520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itle + 1/2 picture full hei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1E773914-63E0-4980-BEEC-5E303EB378EC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5663952" y="0"/>
            <a:ext cx="6528048" cy="6872400"/>
          </a:xfrm>
          <a:solidFill>
            <a:schemeClr val="accent2"/>
          </a:solidFill>
        </p:spPr>
        <p:txBody>
          <a:bodyPr tIns="309600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Optional: To add a picture click the ic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E4449C-D3A8-4D74-B90C-016DF05490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0" y="0"/>
            <a:ext cx="8688388" cy="6872400"/>
          </a:xfrm>
          <a:solidFill>
            <a:schemeClr val="accent1">
              <a:alpha val="14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984B9416-ED4A-49E0-B515-7988EBC556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0" y="0"/>
            <a:ext cx="8688388" cy="6872400"/>
          </a:xfrm>
          <a:custGeom>
            <a:avLst/>
            <a:gdLst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688388 w 8688388"/>
              <a:gd name="connsiteY2" fmla="*/ 6502988 h 6843712"/>
              <a:gd name="connsiteX3" fmla="*/ 8489074 w 8688388"/>
              <a:gd name="connsiteY3" fmla="*/ 6843712 h 6843712"/>
              <a:gd name="connsiteX4" fmla="*/ 0 w 8688388"/>
              <a:gd name="connsiteY4" fmla="*/ 6843712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489074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261968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88388" h="6843712">
                <a:moveTo>
                  <a:pt x="0" y="0"/>
                </a:moveTo>
                <a:lnTo>
                  <a:pt x="8688388" y="0"/>
                </a:lnTo>
                <a:lnTo>
                  <a:pt x="8261968" y="6843712"/>
                </a:lnTo>
                <a:lnTo>
                  <a:pt x="0" y="684371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29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32C64BE6-AD8A-4E51-A914-4B0A09D7B6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-200" y="0"/>
            <a:ext cx="8256788" cy="6872400"/>
          </a:xfrm>
          <a:solidFill>
            <a:schemeClr val="accent1">
              <a:alpha val="43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9AB9EBBA-E090-4E3B-903E-EE1A4618B9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-6350"/>
            <a:ext cx="8262938" cy="6878750"/>
          </a:xfrm>
          <a:custGeom>
            <a:avLst/>
            <a:gdLst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688388 w 8688388"/>
              <a:gd name="connsiteY2" fmla="*/ 6502988 h 6843712"/>
              <a:gd name="connsiteX3" fmla="*/ 8489074 w 8688388"/>
              <a:gd name="connsiteY3" fmla="*/ 6843712 h 6843712"/>
              <a:gd name="connsiteX4" fmla="*/ 0 w 8688388"/>
              <a:gd name="connsiteY4" fmla="*/ 6843712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489074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261968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826196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938" h="6850035">
                <a:moveTo>
                  <a:pt x="0" y="6323"/>
                </a:moveTo>
                <a:lnTo>
                  <a:pt x="8262938" y="0"/>
                </a:lnTo>
                <a:cubicBezTo>
                  <a:pt x="8040365" y="1606732"/>
                  <a:pt x="7608241" y="4851248"/>
                  <a:pt x="7392018" y="6850035"/>
                </a:cubicBezTo>
                <a:lnTo>
                  <a:pt x="0" y="6850035"/>
                </a:lnTo>
                <a:lnTo>
                  <a:pt x="0" y="6323"/>
                </a:lnTo>
                <a:close/>
              </a:path>
            </a:pathLst>
          </a:custGeom>
          <a:solidFill>
            <a:schemeClr val="accent1">
              <a:alpha val="71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A5549737-36F4-4377-8780-3644CA9A880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0" y="0"/>
            <a:ext cx="7391400" cy="6872400"/>
          </a:xfrm>
          <a:solidFill>
            <a:schemeClr val="accent1">
              <a:alpha val="37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DF190BAB-CD34-46F5-8CD1-2EC6A71D47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9" y="0"/>
            <a:ext cx="7384397" cy="6885574"/>
          </a:xfrm>
          <a:custGeom>
            <a:avLst/>
            <a:gdLst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688388 w 8688388"/>
              <a:gd name="connsiteY2" fmla="*/ 6502988 h 6843712"/>
              <a:gd name="connsiteX3" fmla="*/ 8489074 w 8688388"/>
              <a:gd name="connsiteY3" fmla="*/ 6843712 h 6843712"/>
              <a:gd name="connsiteX4" fmla="*/ 0 w 8688388"/>
              <a:gd name="connsiteY4" fmla="*/ 6843712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489074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688388"/>
              <a:gd name="connsiteY0" fmla="*/ 0 h 6843712"/>
              <a:gd name="connsiteX1" fmla="*/ 8688388 w 8688388"/>
              <a:gd name="connsiteY1" fmla="*/ 0 h 6843712"/>
              <a:gd name="connsiteX2" fmla="*/ 8261968 w 8688388"/>
              <a:gd name="connsiteY2" fmla="*/ 6843712 h 6843712"/>
              <a:gd name="connsiteX3" fmla="*/ 0 w 8688388"/>
              <a:gd name="connsiteY3" fmla="*/ 6843712 h 6843712"/>
              <a:gd name="connsiteX4" fmla="*/ 0 w 8688388"/>
              <a:gd name="connsiteY4" fmla="*/ 0 h 6843712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826196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8262938"/>
              <a:gd name="connsiteY0" fmla="*/ 6323 h 6850035"/>
              <a:gd name="connsiteX1" fmla="*/ 8262938 w 8262938"/>
              <a:gd name="connsiteY1" fmla="*/ 0 h 6850035"/>
              <a:gd name="connsiteX2" fmla="*/ 7392018 w 8262938"/>
              <a:gd name="connsiteY2" fmla="*/ 6850035 h 6850035"/>
              <a:gd name="connsiteX3" fmla="*/ 0 w 8262938"/>
              <a:gd name="connsiteY3" fmla="*/ 6850035 h 6850035"/>
              <a:gd name="connsiteX4" fmla="*/ 0 w 8262938"/>
              <a:gd name="connsiteY4" fmla="*/ 6323 h 6850035"/>
              <a:gd name="connsiteX0" fmla="*/ 0 w 7452925"/>
              <a:gd name="connsiteY0" fmla="*/ 6323 h 6850035"/>
              <a:gd name="connsiteX1" fmla="*/ 7384397 w 7452925"/>
              <a:gd name="connsiteY1" fmla="*/ 0 h 6850035"/>
              <a:gd name="connsiteX2" fmla="*/ 7392018 w 7452925"/>
              <a:gd name="connsiteY2" fmla="*/ 6850035 h 6850035"/>
              <a:gd name="connsiteX3" fmla="*/ 0 w 7452925"/>
              <a:gd name="connsiteY3" fmla="*/ 6850035 h 6850035"/>
              <a:gd name="connsiteX4" fmla="*/ 0 w 7452925"/>
              <a:gd name="connsiteY4" fmla="*/ 6323 h 6850035"/>
              <a:gd name="connsiteX0" fmla="*/ 0 w 7384397"/>
              <a:gd name="connsiteY0" fmla="*/ 6323 h 6856831"/>
              <a:gd name="connsiteX1" fmla="*/ 7384397 w 7384397"/>
              <a:gd name="connsiteY1" fmla="*/ 0 h 6856831"/>
              <a:gd name="connsiteX2" fmla="*/ 5645105 w 7384397"/>
              <a:gd name="connsiteY2" fmla="*/ 6856831 h 6856831"/>
              <a:gd name="connsiteX3" fmla="*/ 0 w 7384397"/>
              <a:gd name="connsiteY3" fmla="*/ 6850035 h 6856831"/>
              <a:gd name="connsiteX4" fmla="*/ 0 w 7384397"/>
              <a:gd name="connsiteY4" fmla="*/ 6323 h 6856831"/>
              <a:gd name="connsiteX0" fmla="*/ 0 w 7384397"/>
              <a:gd name="connsiteY0" fmla="*/ 6323 h 6856831"/>
              <a:gd name="connsiteX1" fmla="*/ 7384397 w 7384397"/>
              <a:gd name="connsiteY1" fmla="*/ 0 h 6856831"/>
              <a:gd name="connsiteX2" fmla="*/ 5645105 w 7384397"/>
              <a:gd name="connsiteY2" fmla="*/ 6856831 h 6856831"/>
              <a:gd name="connsiteX3" fmla="*/ 0 w 7384397"/>
              <a:gd name="connsiteY3" fmla="*/ 6850035 h 6856831"/>
              <a:gd name="connsiteX4" fmla="*/ 0 w 7384397"/>
              <a:gd name="connsiteY4" fmla="*/ 6323 h 6856831"/>
              <a:gd name="connsiteX0" fmla="*/ 0 w 7384397"/>
              <a:gd name="connsiteY0" fmla="*/ 6323 h 6856831"/>
              <a:gd name="connsiteX1" fmla="*/ 7384397 w 7384397"/>
              <a:gd name="connsiteY1" fmla="*/ 0 h 6856831"/>
              <a:gd name="connsiteX2" fmla="*/ 5645105 w 7384397"/>
              <a:gd name="connsiteY2" fmla="*/ 6856831 h 6856831"/>
              <a:gd name="connsiteX3" fmla="*/ 0 w 7384397"/>
              <a:gd name="connsiteY3" fmla="*/ 6850035 h 6856831"/>
              <a:gd name="connsiteX4" fmla="*/ 0 w 7384397"/>
              <a:gd name="connsiteY4" fmla="*/ 6323 h 6856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84397" h="6856831">
                <a:moveTo>
                  <a:pt x="0" y="6323"/>
                </a:moveTo>
                <a:lnTo>
                  <a:pt x="7384397" y="0"/>
                </a:lnTo>
                <a:cubicBezTo>
                  <a:pt x="7114199" y="1018647"/>
                  <a:pt x="6213753" y="4829589"/>
                  <a:pt x="5645105" y="6856831"/>
                </a:cubicBezTo>
                <a:lnTo>
                  <a:pt x="0" y="6850035"/>
                </a:lnTo>
                <a:lnTo>
                  <a:pt x="0" y="6323"/>
                </a:lnTo>
                <a:close/>
              </a:path>
            </a:pathLst>
          </a:custGeom>
          <a:solidFill>
            <a:schemeClr val="accent1">
              <a:alpha val="86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6E9EADC6-C90B-4381-829A-8A0892205F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0" y="0"/>
            <a:ext cx="5663503" cy="6858000"/>
          </a:xfrm>
          <a:solidFill>
            <a:schemeClr val="accent1"/>
          </a:solidFill>
        </p:spPr>
        <p:txBody>
          <a:bodyPr lIns="396000" tIns="1440000" rIns="396000" bIns="1440000" anchor="b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Max. triple-spaced title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0A973AC8-F101-445C-B22B-6D37072DD2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592" y="404664"/>
            <a:ext cx="2016000" cy="486000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B6D4AA3E-6361-4F09-8E08-9FA4CCC356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07988" y="6280536"/>
            <a:ext cx="1350000" cy="180000"/>
          </a:xfr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601351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7" dur="2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8" dur="2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1" dur="2000" fill="hold"/>
                                            <p:tgtEl>
                                              <p:spTgt spid="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2" dur="2000" fill="hold"/>
                                            <p:tgtEl>
                                              <p:spTgt spid="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5" dur="2000" fill="hold"/>
                                            <p:tgtEl>
                                              <p:spTgt spid="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6" dur="2000" fill="hold"/>
                                            <p:tgtEl>
                                              <p:spTgt spid="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9" dur="2500" fill="hold"/>
                                            <p:tgtEl>
                                              <p:spTgt spid="39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0" dur="2500" fill="hold"/>
                                            <p:tgtEl>
                                              <p:spTgt spid="39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3" dur="2500" fill="hold"/>
                                            <p:tgtEl>
                                              <p:spTgt spid="3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4" dur="2500" fill="hold"/>
                                            <p:tgtEl>
                                              <p:spTgt spid="3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7" dur="2000" fill="hold"/>
                                            <p:tgtEl>
                                              <p:spTgt spid="40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8" dur="2000" fill="hold"/>
                                            <p:tgtEl>
                                              <p:spTgt spid="40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1" dur="2000" fill="hold"/>
                                            <p:tgtEl>
                                              <p:spTgt spid="4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2" dur="2000" fill="hold"/>
                                            <p:tgtEl>
                                              <p:spTgt spid="4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5" dur="2500" fill="hold"/>
                                            <p:tgtEl>
                                              <p:spTgt spid="4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6" dur="2500" fill="hold"/>
                                            <p:tgtEl>
                                              <p:spTgt spid="4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9" dur="2500" fill="hold"/>
                                            <p:tgtEl>
                                              <p:spTgt spid="4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40" dur="2500" fill="hold"/>
                                            <p:tgtEl>
                                              <p:spTgt spid="4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43" dur="2000" fill="hold"/>
                                            <p:tgtEl>
                                              <p:spTgt spid="4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44" dur="2000" fill="hold"/>
                                            <p:tgtEl>
                                              <p:spTgt spid="4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47" dur="2000" fill="hold"/>
                                            <p:tgtEl>
                                              <p:spTgt spid="4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48" dur="2000" fill="hold"/>
                                            <p:tgtEl>
                                              <p:spTgt spid="4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51" dur="2000" fill="hold"/>
                                            <p:tgtEl>
                                              <p:spTgt spid="4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52" dur="2000" fill="hold"/>
                                            <p:tgtEl>
                                              <p:spTgt spid="4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55" dur="2000" fill="hold"/>
                                            <p:tgtEl>
                                              <p:spTgt spid="4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56" dur="2000" fill="hold"/>
                                            <p:tgtEl>
                                              <p:spTgt spid="4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7" presetID="2" presetClass="entr" presetSubtype="2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9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0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7" grpId="0" animBg="1"/>
          <p:bldP spid="5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9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3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0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1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4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4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4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500" fill="hold"/>
                            <p:tgtEl>
                              <p:spTgt spid="4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2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4" grpId="0" build="p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4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5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2000" fill="hold"/>
                                            <p:tgtEl>
                                              <p:spTgt spid="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2000" fill="hold"/>
                                            <p:tgtEl>
                                              <p:spTgt spid="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2500" fill="hold"/>
                                            <p:tgtEl>
                                              <p:spTgt spid="39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2500" fill="hold"/>
                                            <p:tgtEl>
                                              <p:spTgt spid="39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2500" fill="hold"/>
                                            <p:tgtEl>
                                              <p:spTgt spid="3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2500" fill="hold"/>
                                            <p:tgtEl>
                                              <p:spTgt spid="3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2000" fill="hold"/>
                                            <p:tgtEl>
                                              <p:spTgt spid="40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2000" fill="hold"/>
                                            <p:tgtEl>
                                              <p:spTgt spid="40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2000" fill="hold"/>
                                            <p:tgtEl>
                                              <p:spTgt spid="4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2000" fill="hold"/>
                                            <p:tgtEl>
                                              <p:spTgt spid="4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2500" fill="hold"/>
                                            <p:tgtEl>
                                              <p:spTgt spid="4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2500" fill="hold"/>
                                            <p:tgtEl>
                                              <p:spTgt spid="4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9" dur="2500" fill="hold"/>
                                            <p:tgtEl>
                                              <p:spTgt spid="4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0" dur="2500" fill="hold"/>
                                            <p:tgtEl>
                                              <p:spTgt spid="4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3" dur="2000" fill="hold"/>
                                            <p:tgtEl>
                                              <p:spTgt spid="4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4" dur="2000" fill="hold"/>
                                            <p:tgtEl>
                                              <p:spTgt spid="4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7" dur="2000" fill="hold"/>
                                            <p:tgtEl>
                                              <p:spTgt spid="4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8" dur="2000" fill="hold"/>
                                            <p:tgtEl>
                                              <p:spTgt spid="4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1" dur="2000" fill="hold"/>
                                            <p:tgtEl>
                                              <p:spTgt spid="4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2" dur="2000" fill="hold"/>
                                            <p:tgtEl>
                                              <p:spTgt spid="44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5" dur="2000" fill="hold"/>
                                            <p:tgtEl>
                                              <p:spTgt spid="4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6" dur="2000" fill="hold"/>
                                            <p:tgtEl>
                                              <p:spTgt spid="4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7" presetID="2" presetClass="entr" presetSubtype="2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9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0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7" grpId="0" animBg="1"/>
          <p:bldP spid="5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9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3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3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3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3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0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4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4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4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4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1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4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4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500" fill="hold"/>
                            <p:tgtEl>
                              <p:spTgt spid="4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500" fill="hold"/>
                            <p:tgtEl>
                              <p:spTgt spid="4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2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4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4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4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4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4" grpId="0" build="p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4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4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4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4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pos="5201" userDrawn="1">
          <p15:clr>
            <a:srgbClr val="FBAE40"/>
          </p15:clr>
        </p15:guide>
        <p15:guide id="2" pos="4656" userDrawn="1">
          <p15:clr>
            <a:srgbClr val="FBAE40"/>
          </p15:clr>
        </p15:guide>
        <p15:guide id="3" pos="356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treme title without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7271BF-E425-4962-BFFD-363A0B4BC1CC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407988" y="1628774"/>
            <a:ext cx="11376000" cy="2376000"/>
          </a:xfrm>
        </p:spPr>
        <p:txBody>
          <a:bodyPr anchor="b"/>
          <a:lstStyle>
            <a:lvl1pPr algn="l">
              <a:lnSpc>
                <a:spcPct val="100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Max. triple-spaced title</a:t>
            </a:r>
          </a:p>
        </p:txBody>
      </p:sp>
      <p:pic>
        <p:nvPicPr>
          <p:cNvPr id="60" name="Grafik 59">
            <a:extLst>
              <a:ext uri="{FF2B5EF4-FFF2-40B4-BE49-F238E27FC236}">
                <a16:creationId xmlns:a16="http://schemas.microsoft.com/office/drawing/2014/main" id="{25BD3E8D-AF9B-4875-BC3E-0F994CD5FE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7368" y="404664"/>
            <a:ext cx="2016000" cy="484994"/>
          </a:xfrm>
          <a:prstGeom prst="rect">
            <a:avLst/>
          </a:prstGeo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A78E4F1-0234-4BA0-976F-CF4E5895FF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0" y="4221163"/>
            <a:ext cx="12192000" cy="2636837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1" name="Textplatzhalter 50">
            <a:extLst>
              <a:ext uri="{FF2B5EF4-FFF2-40B4-BE49-F238E27FC236}">
                <a16:creationId xmlns:a16="http://schemas.microsoft.com/office/drawing/2014/main" id="{40498674-3E50-47A9-AFD9-25239E9532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 flipH="1">
            <a:off x="0" y="4221163"/>
            <a:ext cx="12192000" cy="2636837"/>
          </a:xfrm>
          <a:custGeom>
            <a:avLst/>
            <a:gdLst>
              <a:gd name="connsiteX0" fmla="*/ 0 w 12192000"/>
              <a:gd name="connsiteY0" fmla="*/ 0 h 2636837"/>
              <a:gd name="connsiteX1" fmla="*/ 11864200 w 12192000"/>
              <a:gd name="connsiteY1" fmla="*/ 0 h 2636837"/>
              <a:gd name="connsiteX2" fmla="*/ 12192000 w 12192000"/>
              <a:gd name="connsiteY2" fmla="*/ 408191 h 2636837"/>
              <a:gd name="connsiteX3" fmla="*/ 12192000 w 12192000"/>
              <a:gd name="connsiteY3" fmla="*/ 2636837 h 2636837"/>
              <a:gd name="connsiteX4" fmla="*/ 0 w 12192000"/>
              <a:gd name="connsiteY4" fmla="*/ 2636837 h 2636837"/>
              <a:gd name="connsiteX0" fmla="*/ 0 w 12192000"/>
              <a:gd name="connsiteY0" fmla="*/ 0 h 2636837"/>
              <a:gd name="connsiteX1" fmla="*/ 12192000 w 12192000"/>
              <a:gd name="connsiteY1" fmla="*/ 408191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  <a:gd name="connsiteX0" fmla="*/ 0 w 12192000"/>
              <a:gd name="connsiteY0" fmla="*/ 0 h 2636837"/>
              <a:gd name="connsiteX1" fmla="*/ 12186024 w 12192000"/>
              <a:gd name="connsiteY1" fmla="*/ 862402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2636837">
                <a:moveTo>
                  <a:pt x="0" y="0"/>
                </a:moveTo>
                <a:lnTo>
                  <a:pt x="12186024" y="862402"/>
                </a:lnTo>
                <a:lnTo>
                  <a:pt x="12192000" y="2636837"/>
                </a:lnTo>
                <a:lnTo>
                  <a:pt x="0" y="263683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A7C521A6-B884-4D51-8048-DA6AEDD5F9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5085184"/>
            <a:ext cx="12192000" cy="1772816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C6EE7C3C-178E-426C-B904-486E06346D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 flipH="1">
            <a:off x="0" y="5085184"/>
            <a:ext cx="12192000" cy="1772816"/>
          </a:xfrm>
          <a:custGeom>
            <a:avLst/>
            <a:gdLst>
              <a:gd name="connsiteX0" fmla="*/ 0 w 12192000"/>
              <a:gd name="connsiteY0" fmla="*/ 0 h 2636837"/>
              <a:gd name="connsiteX1" fmla="*/ 11864200 w 12192000"/>
              <a:gd name="connsiteY1" fmla="*/ 0 h 2636837"/>
              <a:gd name="connsiteX2" fmla="*/ 12192000 w 12192000"/>
              <a:gd name="connsiteY2" fmla="*/ 408191 h 2636837"/>
              <a:gd name="connsiteX3" fmla="*/ 12192000 w 12192000"/>
              <a:gd name="connsiteY3" fmla="*/ 2636837 h 2636837"/>
              <a:gd name="connsiteX4" fmla="*/ 0 w 12192000"/>
              <a:gd name="connsiteY4" fmla="*/ 2636837 h 2636837"/>
              <a:gd name="connsiteX0" fmla="*/ 0 w 12192000"/>
              <a:gd name="connsiteY0" fmla="*/ 0 h 2636837"/>
              <a:gd name="connsiteX1" fmla="*/ 12192000 w 12192000"/>
              <a:gd name="connsiteY1" fmla="*/ 408191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  <a:gd name="connsiteX0" fmla="*/ 0 w 12192000"/>
              <a:gd name="connsiteY0" fmla="*/ 0 h 2636837"/>
              <a:gd name="connsiteX1" fmla="*/ 12186024 w 12192000"/>
              <a:gd name="connsiteY1" fmla="*/ 862402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  <a:gd name="connsiteX0" fmla="*/ 0 w 12192000"/>
              <a:gd name="connsiteY0" fmla="*/ 0 h 2636837"/>
              <a:gd name="connsiteX1" fmla="*/ 12192000 w 12192000"/>
              <a:gd name="connsiteY1" fmla="*/ 2636837 h 2636837"/>
              <a:gd name="connsiteX2" fmla="*/ 0 w 12192000"/>
              <a:gd name="connsiteY2" fmla="*/ 2636837 h 2636837"/>
              <a:gd name="connsiteX3" fmla="*/ 0 w 12192000"/>
              <a:gd name="connsiteY3" fmla="*/ 0 h 2636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636837">
                <a:moveTo>
                  <a:pt x="0" y="0"/>
                </a:moveTo>
                <a:lnTo>
                  <a:pt x="12192000" y="2636837"/>
                </a:lnTo>
                <a:lnTo>
                  <a:pt x="0" y="263683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17D68BEE-0106-4A39-B6C4-C174E69FD2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33316" y="626256"/>
            <a:ext cx="135230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04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7" dur="2000" fill="hold"/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8" dur="2000" fill="hold"/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1" dur="2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2" dur="2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5" dur="2000" fill="hold"/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6" dur="2000" fill="hold"/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9" dur="2000" fill="hold"/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0" dur="2000" fill="hold"/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3" dur="2000" fill="hold"/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4" dur="2000" fill="hold"/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7" dur="2000" fill="hold"/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8" dur="2000" fill="hold"/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1" dur="2000" fill="hold"/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2" dur="2000" fill="hold"/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5" dur="2000" fill="hold"/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6" dur="2000" fill="hold"/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build="p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1" grpId="0" build="p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2" grpId="0" build="p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3" grpId="0" build="p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2000" fill="hold"/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2000" fill="hold"/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2000" fill="hold"/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2000" fill="hold"/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2000" fill="hold"/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2000" fill="hold"/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2000" fill="hold"/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2000" fill="hold"/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2000" fill="hold"/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2000" fill="hold"/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2000" fill="hold"/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2000" fill="hold"/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build="p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1" grpId="0" build="p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2" grpId="0" build="p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3" grpId="0" build="p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320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treme title without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7271BF-E425-4962-BFFD-363A0B4BC1CC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407988" y="1628774"/>
            <a:ext cx="11376000" cy="2376000"/>
          </a:xfrm>
        </p:spPr>
        <p:txBody>
          <a:bodyPr anchor="b"/>
          <a:lstStyle>
            <a:lvl1pPr algn="l">
              <a:lnSpc>
                <a:spcPct val="100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Max. triple-spaced title</a:t>
            </a:r>
          </a:p>
        </p:txBody>
      </p:sp>
      <p:pic>
        <p:nvPicPr>
          <p:cNvPr id="60" name="Grafik 59">
            <a:extLst>
              <a:ext uri="{FF2B5EF4-FFF2-40B4-BE49-F238E27FC236}">
                <a16:creationId xmlns:a16="http://schemas.microsoft.com/office/drawing/2014/main" id="{25BD3E8D-AF9B-4875-BC3E-0F994CD5FE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7368" y="404664"/>
            <a:ext cx="2016000" cy="484994"/>
          </a:xfrm>
          <a:prstGeom prst="rect">
            <a:avLst/>
          </a:prstGeo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A78E4F1-0234-4BA0-976F-CF4E5895FF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0" y="4221163"/>
            <a:ext cx="12192000" cy="2636837"/>
          </a:xfrm>
          <a:solidFill>
            <a:schemeClr val="accent1">
              <a:alpha val="20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1" name="Textplatzhalter 50">
            <a:extLst>
              <a:ext uri="{FF2B5EF4-FFF2-40B4-BE49-F238E27FC236}">
                <a16:creationId xmlns:a16="http://schemas.microsoft.com/office/drawing/2014/main" id="{40498674-3E50-47A9-AFD9-25239E9532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 flipH="1">
            <a:off x="0" y="4221163"/>
            <a:ext cx="12192000" cy="2636837"/>
          </a:xfrm>
          <a:custGeom>
            <a:avLst/>
            <a:gdLst>
              <a:gd name="connsiteX0" fmla="*/ 0 w 12192000"/>
              <a:gd name="connsiteY0" fmla="*/ 0 h 2636837"/>
              <a:gd name="connsiteX1" fmla="*/ 11864200 w 12192000"/>
              <a:gd name="connsiteY1" fmla="*/ 0 h 2636837"/>
              <a:gd name="connsiteX2" fmla="*/ 12192000 w 12192000"/>
              <a:gd name="connsiteY2" fmla="*/ 408191 h 2636837"/>
              <a:gd name="connsiteX3" fmla="*/ 12192000 w 12192000"/>
              <a:gd name="connsiteY3" fmla="*/ 2636837 h 2636837"/>
              <a:gd name="connsiteX4" fmla="*/ 0 w 12192000"/>
              <a:gd name="connsiteY4" fmla="*/ 2636837 h 2636837"/>
              <a:gd name="connsiteX0" fmla="*/ 0 w 12192000"/>
              <a:gd name="connsiteY0" fmla="*/ 0 h 2636837"/>
              <a:gd name="connsiteX1" fmla="*/ 12192000 w 12192000"/>
              <a:gd name="connsiteY1" fmla="*/ 408191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  <a:gd name="connsiteX0" fmla="*/ 0 w 12192000"/>
              <a:gd name="connsiteY0" fmla="*/ 0 h 2636837"/>
              <a:gd name="connsiteX1" fmla="*/ 12186024 w 12192000"/>
              <a:gd name="connsiteY1" fmla="*/ 862402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2636837">
                <a:moveTo>
                  <a:pt x="0" y="0"/>
                </a:moveTo>
                <a:lnTo>
                  <a:pt x="12186024" y="862402"/>
                </a:lnTo>
                <a:lnTo>
                  <a:pt x="12192000" y="2636837"/>
                </a:lnTo>
                <a:lnTo>
                  <a:pt x="0" y="263683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A7C521A6-B884-4D51-8048-DA6AEDD5F9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5085184"/>
            <a:ext cx="12192000" cy="1772816"/>
          </a:xfrm>
          <a:solidFill>
            <a:schemeClr val="accent1">
              <a:alpha val="60000"/>
            </a:schemeClr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C6EE7C3C-178E-426C-B904-486E06346D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 flipH="1">
            <a:off x="0" y="5085184"/>
            <a:ext cx="12192000" cy="1772816"/>
          </a:xfrm>
          <a:custGeom>
            <a:avLst/>
            <a:gdLst>
              <a:gd name="connsiteX0" fmla="*/ 0 w 12192000"/>
              <a:gd name="connsiteY0" fmla="*/ 0 h 2636837"/>
              <a:gd name="connsiteX1" fmla="*/ 11864200 w 12192000"/>
              <a:gd name="connsiteY1" fmla="*/ 0 h 2636837"/>
              <a:gd name="connsiteX2" fmla="*/ 12192000 w 12192000"/>
              <a:gd name="connsiteY2" fmla="*/ 408191 h 2636837"/>
              <a:gd name="connsiteX3" fmla="*/ 12192000 w 12192000"/>
              <a:gd name="connsiteY3" fmla="*/ 2636837 h 2636837"/>
              <a:gd name="connsiteX4" fmla="*/ 0 w 12192000"/>
              <a:gd name="connsiteY4" fmla="*/ 2636837 h 2636837"/>
              <a:gd name="connsiteX0" fmla="*/ 0 w 12192000"/>
              <a:gd name="connsiteY0" fmla="*/ 0 h 2636837"/>
              <a:gd name="connsiteX1" fmla="*/ 12192000 w 12192000"/>
              <a:gd name="connsiteY1" fmla="*/ 408191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  <a:gd name="connsiteX0" fmla="*/ 0 w 12192000"/>
              <a:gd name="connsiteY0" fmla="*/ 0 h 2636837"/>
              <a:gd name="connsiteX1" fmla="*/ 12186024 w 12192000"/>
              <a:gd name="connsiteY1" fmla="*/ 862402 h 2636837"/>
              <a:gd name="connsiteX2" fmla="*/ 12192000 w 12192000"/>
              <a:gd name="connsiteY2" fmla="*/ 2636837 h 2636837"/>
              <a:gd name="connsiteX3" fmla="*/ 0 w 12192000"/>
              <a:gd name="connsiteY3" fmla="*/ 2636837 h 2636837"/>
              <a:gd name="connsiteX4" fmla="*/ 0 w 12192000"/>
              <a:gd name="connsiteY4" fmla="*/ 0 h 2636837"/>
              <a:gd name="connsiteX0" fmla="*/ 0 w 12192000"/>
              <a:gd name="connsiteY0" fmla="*/ 0 h 2636837"/>
              <a:gd name="connsiteX1" fmla="*/ 12192000 w 12192000"/>
              <a:gd name="connsiteY1" fmla="*/ 2636837 h 2636837"/>
              <a:gd name="connsiteX2" fmla="*/ 0 w 12192000"/>
              <a:gd name="connsiteY2" fmla="*/ 2636837 h 2636837"/>
              <a:gd name="connsiteX3" fmla="*/ 0 w 12192000"/>
              <a:gd name="connsiteY3" fmla="*/ 0 h 2636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636837">
                <a:moveTo>
                  <a:pt x="0" y="0"/>
                </a:moveTo>
                <a:lnTo>
                  <a:pt x="12192000" y="2636837"/>
                </a:lnTo>
                <a:lnTo>
                  <a:pt x="0" y="263683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17D68BEE-0106-4A39-B6C4-C174E69FD2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33316" y="626256"/>
            <a:ext cx="135230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04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7" dur="2000" fill="hold"/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8" dur="2000" fill="hold"/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1" dur="2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2" dur="2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5" dur="2000" fill="hold"/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6" dur="2000" fill="hold"/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9" dur="2000" fill="hold"/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0" dur="2000" fill="hold"/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3" dur="2000" fill="hold"/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4" dur="2000" fill="hold"/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7" dur="2000" fill="hold"/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8" dur="2000" fill="hold"/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1" dur="2000" fill="hold"/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2" dur="2000" fill="hold"/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5" dur="2000" fill="hold"/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6" dur="2000" fill="hold"/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build="p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1" grpId="0" build="p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2" grpId="0" build="p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3" grpId="0" build="p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6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2000" fill="hold"/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2000" fill="hold"/>
                                            <p:tgtEl>
                                              <p:spTgt spid="51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2000" fill="hold"/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2000" fill="hold"/>
                                            <p:tgtEl>
                                              <p:spTgt spid="5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2000" fill="hold"/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2000" fill="hold"/>
                                            <p:tgtEl>
                                              <p:spTgt spid="52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2000" fill="hold"/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2000" fill="hold"/>
                                            <p:tgtEl>
                                              <p:spTgt spid="5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2000" fill="hold"/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2000" fill="hold"/>
                                            <p:tgtEl>
                                              <p:spTgt spid="53">
                                                <p:bg/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2000" fill="hold"/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2000" fill="hold"/>
                                            <p:tgtEl>
                                              <p:spTgt spid="5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build="p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1" grpId="0" build="p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2" grpId="0" build="p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3" grpId="0" build="p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  <p:tmpl lvl="1"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5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2000" fill="hold"/>
                            <p:tgtEl>
                              <p:spTgt spid="5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320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agenda 3 poin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E225523-4114-4313-9B98-A0650456C2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11225" y="3716990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3136FB6-2459-40BA-89FC-1C0C4A085B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911225" y="2562782"/>
            <a:ext cx="2881313" cy="1008000"/>
          </a:xfrm>
        </p:spPr>
        <p:txBody>
          <a:bodyPr anchor="b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6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600" b="0">
                <a:solidFill>
                  <a:schemeClr val="bg1"/>
                </a:solidFill>
              </a:defRPr>
            </a:lvl2pPr>
            <a:lvl3pPr marL="0" indent="0">
              <a:buNone/>
              <a:defRPr sz="3600" b="0">
                <a:solidFill>
                  <a:schemeClr val="bg1"/>
                </a:solidFill>
              </a:defRPr>
            </a:lvl3pPr>
            <a:lvl4pPr marL="0" indent="0">
              <a:buNone/>
              <a:defRPr sz="3600" b="0">
                <a:solidFill>
                  <a:schemeClr val="bg1"/>
                </a:solidFill>
              </a:defRPr>
            </a:lvl4pPr>
            <a:lvl5pPr marL="0" indent="0">
              <a:buNone/>
              <a:defRPr sz="3600" b="0">
                <a:solidFill>
                  <a:schemeClr val="bg1"/>
                </a:solidFill>
              </a:defRPr>
            </a:lvl5pPr>
            <a:lvl6pPr marL="0" indent="0">
              <a:buNone/>
              <a:defRPr sz="3600" b="0">
                <a:solidFill>
                  <a:schemeClr val="bg1"/>
                </a:solidFill>
              </a:defRPr>
            </a:lvl6pPr>
            <a:lvl7pPr marL="0" indent="0">
              <a:buNone/>
              <a:defRPr sz="3600" b="0">
                <a:solidFill>
                  <a:schemeClr val="bg1"/>
                </a:solidFill>
              </a:defRPr>
            </a:lvl7pPr>
            <a:lvl8pPr marL="0" indent="0">
              <a:buNone/>
              <a:defRPr sz="3600" b="0">
                <a:solidFill>
                  <a:schemeClr val="bg1"/>
                </a:solidFill>
              </a:defRPr>
            </a:lvl8pPr>
            <a:lvl9pPr marL="0" indent="0">
              <a:buNone/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First agenda point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50B90DF4-2122-40A6-B0D7-CFBAA91F4F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4654847" y="2563899"/>
            <a:ext cx="2881313" cy="1008000"/>
          </a:xfrm>
        </p:spPr>
        <p:txBody>
          <a:bodyPr anchor="b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600" b="0">
                <a:solidFill>
                  <a:schemeClr val="bg1"/>
                </a:solidFill>
              </a:defRPr>
            </a:lvl1pPr>
            <a:lvl2pPr marL="0" indent="536575">
              <a:buFont typeface="Arial" panose="020B0604020202020204" pitchFamily="34" charset="0"/>
              <a:buNone/>
              <a:defRPr sz="3600" b="0">
                <a:solidFill>
                  <a:schemeClr val="bg1"/>
                </a:solidFill>
              </a:defRPr>
            </a:lvl2pPr>
            <a:lvl3pPr marL="0" indent="0">
              <a:buNone/>
              <a:defRPr sz="3600" b="0">
                <a:solidFill>
                  <a:schemeClr val="bg1"/>
                </a:solidFill>
              </a:defRPr>
            </a:lvl3pPr>
            <a:lvl4pPr marL="0" indent="0">
              <a:buNone/>
              <a:defRPr sz="3600" b="0">
                <a:solidFill>
                  <a:schemeClr val="bg1"/>
                </a:solidFill>
              </a:defRPr>
            </a:lvl4pPr>
            <a:lvl5pPr marL="0" indent="0">
              <a:buNone/>
              <a:defRPr sz="3600" b="0">
                <a:solidFill>
                  <a:schemeClr val="bg1"/>
                </a:solidFill>
              </a:defRPr>
            </a:lvl5pPr>
            <a:lvl6pPr marL="0" indent="0">
              <a:buNone/>
              <a:defRPr sz="3600" b="0">
                <a:solidFill>
                  <a:schemeClr val="bg1"/>
                </a:solidFill>
              </a:defRPr>
            </a:lvl6pPr>
            <a:lvl7pPr marL="0" indent="0">
              <a:buNone/>
              <a:defRPr sz="3600" b="0">
                <a:solidFill>
                  <a:schemeClr val="bg1"/>
                </a:solidFill>
              </a:defRPr>
            </a:lvl7pPr>
            <a:lvl8pPr marL="0" indent="0">
              <a:buNone/>
              <a:defRPr sz="3600" b="0">
                <a:solidFill>
                  <a:schemeClr val="bg1"/>
                </a:solidFill>
              </a:defRPr>
            </a:lvl8pPr>
            <a:lvl9pPr marL="0" indent="0">
              <a:buNone/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Second agenda point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5B50EB4E-71BC-49D0-A120-31E1C616C7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8400256" y="2565016"/>
            <a:ext cx="2881313" cy="1008000"/>
          </a:xfrm>
        </p:spPr>
        <p:txBody>
          <a:bodyPr anchor="b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6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3600" b="0">
                <a:solidFill>
                  <a:schemeClr val="bg1"/>
                </a:solidFill>
              </a:defRPr>
            </a:lvl2pPr>
            <a:lvl3pPr marL="0" indent="0">
              <a:buNone/>
              <a:defRPr sz="3600" b="0">
                <a:solidFill>
                  <a:schemeClr val="bg1"/>
                </a:solidFill>
              </a:defRPr>
            </a:lvl3pPr>
            <a:lvl4pPr marL="0" indent="0">
              <a:buNone/>
              <a:defRPr sz="3600" b="0">
                <a:solidFill>
                  <a:schemeClr val="bg1"/>
                </a:solidFill>
              </a:defRPr>
            </a:lvl4pPr>
            <a:lvl5pPr marL="0" indent="0">
              <a:buNone/>
              <a:defRPr sz="3600" b="0">
                <a:solidFill>
                  <a:schemeClr val="bg1"/>
                </a:solidFill>
              </a:defRPr>
            </a:lvl5pPr>
            <a:lvl6pPr marL="0" indent="0">
              <a:buNone/>
              <a:defRPr sz="3600" b="0">
                <a:solidFill>
                  <a:schemeClr val="bg1"/>
                </a:solidFill>
              </a:defRPr>
            </a:lvl6pPr>
            <a:lvl7pPr marL="0" indent="0">
              <a:buNone/>
              <a:defRPr sz="3600" b="0">
                <a:solidFill>
                  <a:schemeClr val="bg1"/>
                </a:solidFill>
              </a:defRPr>
            </a:lvl7pPr>
            <a:lvl8pPr marL="0" indent="0">
              <a:buNone/>
              <a:defRPr sz="3600" b="0">
                <a:solidFill>
                  <a:schemeClr val="bg1"/>
                </a:solidFill>
              </a:defRPr>
            </a:lvl8pPr>
            <a:lvl9pPr marL="0" indent="0">
              <a:buNone/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hird agenda point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A07888D3-4341-44B4-9CC4-A50BD18919F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911424" y="3933184"/>
            <a:ext cx="2881114" cy="115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25CED698-1D53-4E3A-BFDD-D6EE69F9CA7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black">
          <a:xfrm>
            <a:off x="4655046" y="3933056"/>
            <a:ext cx="2881114" cy="1152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lick to add a text</a:t>
            </a:r>
          </a:p>
          <a:p>
            <a:pPr lvl="0"/>
            <a:endParaRPr lang="en-US" noProof="0"/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DFA4C0C2-A9A0-4623-BB19-6405AAA37F1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black">
          <a:xfrm>
            <a:off x="8400256" y="3932928"/>
            <a:ext cx="2881114" cy="115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Click to add a text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442934B4-71EF-4A60-981A-811BA776E6D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911424" y="2276896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85674" y="85465"/>
                </a:moveTo>
                <a:cubicBezTo>
                  <a:pt x="181593" y="93712"/>
                  <a:pt x="174648" y="102220"/>
                  <a:pt x="164838" y="110989"/>
                </a:cubicBezTo>
                <a:cubicBezTo>
                  <a:pt x="155028" y="119757"/>
                  <a:pt x="143568" y="127223"/>
                  <a:pt x="130459" y="133387"/>
                </a:cubicBezTo>
                <a:lnTo>
                  <a:pt x="130459" y="156046"/>
                </a:lnTo>
                <a:cubicBezTo>
                  <a:pt x="137751" y="153355"/>
                  <a:pt x="145977" y="149318"/>
                  <a:pt x="155136" y="143935"/>
                </a:cubicBezTo>
                <a:cubicBezTo>
                  <a:pt x="164295" y="138553"/>
                  <a:pt x="171696" y="133170"/>
                  <a:pt x="177339" y="127787"/>
                </a:cubicBezTo>
                <a:lnTo>
                  <a:pt x="177339" y="277155"/>
                </a:lnTo>
                <a:lnTo>
                  <a:pt x="200780" y="277155"/>
                </a:lnTo>
                <a:lnTo>
                  <a:pt x="200780" y="85465"/>
                </a:ln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8E7EB96F-1BED-4B46-A752-FC0705FA4B4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655840" y="2276896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5907" y="85465"/>
                </a:moveTo>
                <a:cubicBezTo>
                  <a:pt x="157763" y="85465"/>
                  <a:pt x="143308" y="90174"/>
                  <a:pt x="132542" y="99594"/>
                </a:cubicBezTo>
                <a:cubicBezTo>
                  <a:pt x="121777" y="109013"/>
                  <a:pt x="115570" y="122709"/>
                  <a:pt x="113920" y="140680"/>
                </a:cubicBezTo>
                <a:lnTo>
                  <a:pt x="138012" y="143154"/>
                </a:lnTo>
                <a:cubicBezTo>
                  <a:pt x="138099" y="131173"/>
                  <a:pt x="141528" y="121797"/>
                  <a:pt x="148300" y="115025"/>
                </a:cubicBezTo>
                <a:cubicBezTo>
                  <a:pt x="155071" y="108254"/>
                  <a:pt x="164100" y="104868"/>
                  <a:pt x="175386" y="104868"/>
                </a:cubicBezTo>
                <a:cubicBezTo>
                  <a:pt x="186065" y="104868"/>
                  <a:pt x="194725" y="108058"/>
                  <a:pt x="201366" y="114439"/>
                </a:cubicBezTo>
                <a:cubicBezTo>
                  <a:pt x="208008" y="120820"/>
                  <a:pt x="211328" y="128656"/>
                  <a:pt x="211328" y="137945"/>
                </a:cubicBezTo>
                <a:cubicBezTo>
                  <a:pt x="211328" y="146800"/>
                  <a:pt x="207682" y="156198"/>
                  <a:pt x="200389" y="166139"/>
                </a:cubicBezTo>
                <a:cubicBezTo>
                  <a:pt x="193097" y="176079"/>
                  <a:pt x="179076" y="189557"/>
                  <a:pt x="158327" y="206573"/>
                </a:cubicBezTo>
                <a:cubicBezTo>
                  <a:pt x="144957" y="217512"/>
                  <a:pt x="134735" y="227149"/>
                  <a:pt x="127659" y="235483"/>
                </a:cubicBezTo>
                <a:cubicBezTo>
                  <a:pt x="120583" y="243818"/>
                  <a:pt x="115440" y="252282"/>
                  <a:pt x="112227" y="260877"/>
                </a:cubicBezTo>
                <a:cubicBezTo>
                  <a:pt x="110231" y="266086"/>
                  <a:pt x="109319" y="271512"/>
                  <a:pt x="109493" y="277155"/>
                </a:cubicBezTo>
                <a:lnTo>
                  <a:pt x="235680" y="277155"/>
                </a:lnTo>
                <a:lnTo>
                  <a:pt x="235680" y="254626"/>
                </a:lnTo>
                <a:lnTo>
                  <a:pt x="142049" y="254626"/>
                </a:lnTo>
                <a:cubicBezTo>
                  <a:pt x="144653" y="250372"/>
                  <a:pt x="147952" y="246140"/>
                  <a:pt x="151946" y="241929"/>
                </a:cubicBezTo>
                <a:cubicBezTo>
                  <a:pt x="155939" y="237719"/>
                  <a:pt x="164968" y="229710"/>
                  <a:pt x="179033" y="217903"/>
                </a:cubicBezTo>
                <a:cubicBezTo>
                  <a:pt x="195875" y="203665"/>
                  <a:pt x="207921" y="192466"/>
                  <a:pt x="215170" y="184305"/>
                </a:cubicBezTo>
                <a:cubicBezTo>
                  <a:pt x="222419" y="176144"/>
                  <a:pt x="227606" y="168374"/>
                  <a:pt x="230732" y="160995"/>
                </a:cubicBezTo>
                <a:cubicBezTo>
                  <a:pt x="233857" y="153615"/>
                  <a:pt x="235420" y="146106"/>
                  <a:pt x="235420" y="138466"/>
                </a:cubicBezTo>
                <a:cubicBezTo>
                  <a:pt x="235420" y="123447"/>
                  <a:pt x="230081" y="110858"/>
                  <a:pt x="219402" y="100701"/>
                </a:cubicBezTo>
                <a:cubicBezTo>
                  <a:pt x="208724" y="90543"/>
                  <a:pt x="194225" y="85465"/>
                  <a:pt x="175907" y="8546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2DB56DC-AF63-43EB-B289-CBACDB84D0E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400256" y="2276876"/>
            <a:ext cx="216000" cy="216000"/>
          </a:xfrm>
          <a:custGeom>
            <a:avLst/>
            <a:gdLst/>
            <a:ahLst/>
            <a:cxnLst/>
            <a:rect l="l" t="t" r="r" b="b"/>
            <a:pathLst>
              <a:path w="360000" h="360000">
                <a:moveTo>
                  <a:pt x="172371" y="85485"/>
                </a:moveTo>
                <a:cubicBezTo>
                  <a:pt x="157265" y="85485"/>
                  <a:pt x="144633" y="89804"/>
                  <a:pt x="134476" y="98442"/>
                </a:cubicBezTo>
                <a:cubicBezTo>
                  <a:pt x="124318" y="107080"/>
                  <a:pt x="117807" y="119256"/>
                  <a:pt x="114942" y="134970"/>
                </a:cubicBezTo>
                <a:lnTo>
                  <a:pt x="138382" y="139137"/>
                </a:lnTo>
                <a:cubicBezTo>
                  <a:pt x="140119" y="127677"/>
                  <a:pt x="144025" y="119082"/>
                  <a:pt x="150102" y="113353"/>
                </a:cubicBezTo>
                <a:cubicBezTo>
                  <a:pt x="156180" y="107623"/>
                  <a:pt x="163776" y="104758"/>
                  <a:pt x="172892" y="104758"/>
                </a:cubicBezTo>
                <a:cubicBezTo>
                  <a:pt x="182094" y="104758"/>
                  <a:pt x="189604" y="107579"/>
                  <a:pt x="195421" y="113222"/>
                </a:cubicBezTo>
                <a:cubicBezTo>
                  <a:pt x="201237" y="118865"/>
                  <a:pt x="204146" y="125984"/>
                  <a:pt x="204146" y="134579"/>
                </a:cubicBezTo>
                <a:cubicBezTo>
                  <a:pt x="204146" y="145431"/>
                  <a:pt x="200152" y="153462"/>
                  <a:pt x="192165" y="158671"/>
                </a:cubicBezTo>
                <a:cubicBezTo>
                  <a:pt x="184178" y="163880"/>
                  <a:pt x="175192" y="166484"/>
                  <a:pt x="165209" y="166484"/>
                </a:cubicBezTo>
                <a:cubicBezTo>
                  <a:pt x="164254" y="166484"/>
                  <a:pt x="162995" y="166397"/>
                  <a:pt x="161432" y="166224"/>
                </a:cubicBezTo>
                <a:lnTo>
                  <a:pt x="158828" y="186799"/>
                </a:lnTo>
                <a:cubicBezTo>
                  <a:pt x="165426" y="185063"/>
                  <a:pt x="170938" y="184195"/>
                  <a:pt x="175366" y="184195"/>
                </a:cubicBezTo>
                <a:cubicBezTo>
                  <a:pt x="186218" y="184195"/>
                  <a:pt x="195160" y="187689"/>
                  <a:pt x="202192" y="194678"/>
                </a:cubicBezTo>
                <a:cubicBezTo>
                  <a:pt x="209224" y="201667"/>
                  <a:pt x="212741" y="210544"/>
                  <a:pt x="212741" y="221309"/>
                </a:cubicBezTo>
                <a:cubicBezTo>
                  <a:pt x="212741" y="232595"/>
                  <a:pt x="208942" y="242058"/>
                  <a:pt x="201346" y="249698"/>
                </a:cubicBezTo>
                <a:cubicBezTo>
                  <a:pt x="193749" y="257338"/>
                  <a:pt x="184438" y="261158"/>
                  <a:pt x="173413" y="261158"/>
                </a:cubicBezTo>
                <a:cubicBezTo>
                  <a:pt x="164123" y="261158"/>
                  <a:pt x="156245" y="258227"/>
                  <a:pt x="149777" y="252367"/>
                </a:cubicBezTo>
                <a:cubicBezTo>
                  <a:pt x="143309" y="246507"/>
                  <a:pt x="138730" y="236936"/>
                  <a:pt x="136038" y="223653"/>
                </a:cubicBezTo>
                <a:lnTo>
                  <a:pt x="112598" y="226778"/>
                </a:lnTo>
                <a:cubicBezTo>
                  <a:pt x="114161" y="242666"/>
                  <a:pt x="120476" y="255601"/>
                  <a:pt x="131546" y="265585"/>
                </a:cubicBezTo>
                <a:cubicBezTo>
                  <a:pt x="142615" y="275569"/>
                  <a:pt x="156527" y="280561"/>
                  <a:pt x="173282" y="280561"/>
                </a:cubicBezTo>
                <a:cubicBezTo>
                  <a:pt x="191861" y="280561"/>
                  <a:pt x="207228" y="274766"/>
                  <a:pt x="219382" y="263176"/>
                </a:cubicBezTo>
                <a:cubicBezTo>
                  <a:pt x="231536" y="251586"/>
                  <a:pt x="237613" y="237457"/>
                  <a:pt x="237613" y="220788"/>
                </a:cubicBezTo>
                <a:cubicBezTo>
                  <a:pt x="237613" y="208460"/>
                  <a:pt x="234488" y="198194"/>
                  <a:pt x="228237" y="189990"/>
                </a:cubicBezTo>
                <a:cubicBezTo>
                  <a:pt x="221986" y="181786"/>
                  <a:pt x="213218" y="176381"/>
                  <a:pt x="201932" y="173777"/>
                </a:cubicBezTo>
                <a:cubicBezTo>
                  <a:pt x="210614" y="169783"/>
                  <a:pt x="217168" y="164401"/>
                  <a:pt x="221596" y="157629"/>
                </a:cubicBezTo>
                <a:cubicBezTo>
                  <a:pt x="226023" y="150857"/>
                  <a:pt x="228237" y="143348"/>
                  <a:pt x="228237" y="135100"/>
                </a:cubicBezTo>
                <a:cubicBezTo>
                  <a:pt x="228237" y="126418"/>
                  <a:pt x="225915" y="118214"/>
                  <a:pt x="221270" y="110488"/>
                </a:cubicBezTo>
                <a:cubicBezTo>
                  <a:pt x="216626" y="102761"/>
                  <a:pt x="209919" y="96662"/>
                  <a:pt x="201151" y="92191"/>
                </a:cubicBezTo>
                <a:cubicBezTo>
                  <a:pt x="192382" y="87720"/>
                  <a:pt x="182789" y="85485"/>
                  <a:pt x="172371" y="85485"/>
                </a:cubicBezTo>
                <a:close/>
                <a:moveTo>
                  <a:pt x="180000" y="0"/>
                </a:moveTo>
                <a:cubicBezTo>
                  <a:pt x="279411" y="0"/>
                  <a:pt x="360000" y="80589"/>
                  <a:pt x="360000" y="180000"/>
                </a:cubicBezTo>
                <a:cubicBezTo>
                  <a:pt x="360000" y="279411"/>
                  <a:pt x="279411" y="360000"/>
                  <a:pt x="180000" y="360000"/>
                </a:cubicBezTo>
                <a:cubicBezTo>
                  <a:pt x="80589" y="360000"/>
                  <a:pt x="0" y="279411"/>
                  <a:pt x="0" y="180000"/>
                </a:cubicBezTo>
                <a:cubicBezTo>
                  <a:pt x="0" y="80589"/>
                  <a:pt x="80589" y="0"/>
                  <a:pt x="1800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ctr">
              <a:buNone/>
              <a:defRPr sz="6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FD8631E2-4291-431C-B361-3EF530D0FE7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654847" y="3717032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318E363F-2DF7-4BA7-948F-E560E20BBD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8399263" y="3717074"/>
            <a:ext cx="2881313" cy="7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C764CFC0-47AF-4924-AC0C-AE34BEB323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07368" y="404813"/>
            <a:ext cx="216241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2929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34" Type="http://schemas.openxmlformats.org/officeDocument/2006/relationships/image" Target="../media/image2.emf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oleObject" Target="../embeddings/oleObject2.bin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tags" Target="../tags/tag4.xml"/><Relationship Id="rId8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F80799D-B919-428B-8AC5-F08B68BC5A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09358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47" imgH="348" progId="TCLayout.ActiveDocument.1">
                  <p:embed/>
                </p:oleObj>
              </mc:Choice>
              <mc:Fallback>
                <p:oleObj name="think-cell Folie" r:id="rId33" imgW="347" imgH="34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F80799D-B919-428B-8AC5-F08B68BC5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6CC85BAA-8B3D-478F-91FB-9282E2857359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0AB949E-C448-4ADE-AD76-FB36F5D481A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692696"/>
            <a:ext cx="11376645" cy="64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add tex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C8B4D2-A369-4BFC-B228-C43EB047C3A3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07368" y="1557328"/>
            <a:ext cx="11376000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B9588F-5FBF-4994-998B-73E17C5843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568632" y="6561368"/>
            <a:ext cx="216000" cy="180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lnSpc>
                <a:spcPct val="100000"/>
              </a:lnSpc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140A39-527A-45CF-A911-B921024B92E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50A3C1E-CEB3-4F92-9229-E1D718E64A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095999" y="6561368"/>
            <a:ext cx="53640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GB" noProof="0"/>
              <a:t>BayWa r.e. Company Presentation 2022</a:t>
            </a:r>
            <a:endParaRPr lang="en-US" noProof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86E307EE-4D0E-4E87-8290-B3F6FD62B6C7}"/>
              </a:ext>
            </a:extLst>
          </p:cNvPr>
          <p:cNvSpPr/>
          <p:nvPr userDrawn="1"/>
        </p:nvSpPr>
        <p:spPr>
          <a:xfrm>
            <a:off x="11510963" y="6579368"/>
            <a:ext cx="0" cy="144000"/>
          </a:xfrm>
          <a:custGeom>
            <a:avLst/>
            <a:gdLst>
              <a:gd name="connsiteX0" fmla="*/ 0 w 0"/>
              <a:gd name="connsiteY0" fmla="*/ 0 h 185737"/>
              <a:gd name="connsiteX1" fmla="*/ 0 w 0"/>
              <a:gd name="connsiteY1" fmla="*/ 185737 h 18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85737">
                <a:moveTo>
                  <a:pt x="0" y="0"/>
                </a:moveTo>
                <a:lnTo>
                  <a:pt x="0" y="185737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B36D08F1-04FF-4809-9E33-F949A46F800D}"/>
              </a:ext>
            </a:extLst>
          </p:cNvPr>
          <p:cNvGrpSpPr/>
          <p:nvPr userDrawn="1"/>
        </p:nvGrpSpPr>
        <p:grpSpPr>
          <a:xfrm>
            <a:off x="407988" y="404664"/>
            <a:ext cx="225426" cy="225425"/>
            <a:chOff x="10848975" y="6561138"/>
            <a:chExt cx="225426" cy="225425"/>
          </a:xfrm>
        </p:grpSpPr>
        <p:sp>
          <p:nvSpPr>
            <p:cNvPr id="27" name="Rectangle 5">
              <a:extLst>
                <a:ext uri="{FF2B5EF4-FFF2-40B4-BE49-F238E27FC236}">
                  <a16:creationId xmlns:a16="http://schemas.microsoft.com/office/drawing/2014/main" id="{82796679-3647-4877-8E89-A77681941C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848975" y="6618288"/>
              <a:ext cx="168275" cy="168275"/>
            </a:xfrm>
            <a:prstGeom prst="rect">
              <a:avLst/>
            </a:prstGeom>
            <a:solidFill>
              <a:srgbClr val="F9D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211D52B6-D435-4C96-B1D5-266EA891F9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48975" y="6561138"/>
              <a:ext cx="225425" cy="225425"/>
            </a:xfrm>
            <a:custGeom>
              <a:avLst/>
              <a:gdLst>
                <a:gd name="T0" fmla="*/ 0 w 142"/>
                <a:gd name="T1" fmla="*/ 36 h 142"/>
                <a:gd name="T2" fmla="*/ 106 w 142"/>
                <a:gd name="T3" fmla="*/ 0 h 142"/>
                <a:gd name="T4" fmla="*/ 142 w 142"/>
                <a:gd name="T5" fmla="*/ 107 h 142"/>
                <a:gd name="T6" fmla="*/ 35 w 142"/>
                <a:gd name="T7" fmla="*/ 142 h 142"/>
                <a:gd name="T8" fmla="*/ 0 w 142"/>
                <a:gd name="T9" fmla="*/ 3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142">
                  <a:moveTo>
                    <a:pt x="0" y="36"/>
                  </a:moveTo>
                  <a:lnTo>
                    <a:pt x="106" y="0"/>
                  </a:lnTo>
                  <a:lnTo>
                    <a:pt x="142" y="107"/>
                  </a:lnTo>
                  <a:lnTo>
                    <a:pt x="35" y="142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78B9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Rectangle 7">
              <a:extLst>
                <a:ext uri="{FF2B5EF4-FFF2-40B4-BE49-F238E27FC236}">
                  <a16:creationId xmlns:a16="http://schemas.microsoft.com/office/drawing/2014/main" id="{CC46E1F4-DAAB-4CDD-8ADC-F75FE8CDD8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04538" y="6561138"/>
              <a:ext cx="169863" cy="169863"/>
            </a:xfrm>
            <a:prstGeom prst="rect">
              <a:avLst/>
            </a:prstGeom>
            <a:solidFill>
              <a:srgbClr val="008C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1" name="Grafik 30">
            <a:extLst>
              <a:ext uri="{FF2B5EF4-FFF2-40B4-BE49-F238E27FC236}">
                <a16:creationId xmlns:a16="http://schemas.microsoft.com/office/drawing/2014/main" id="{8776EEAC-C09D-4EDB-95BC-ED4EC31735AC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6606876"/>
            <a:ext cx="809454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287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64" r:id="rId3"/>
    <p:sldLayoutId id="2147483665" r:id="rId4"/>
    <p:sldLayoutId id="2147483666" r:id="rId5"/>
    <p:sldLayoutId id="2147483649" r:id="rId6"/>
    <p:sldLayoutId id="2147483789" r:id="rId7"/>
    <p:sldLayoutId id="2147483656" r:id="rId8"/>
    <p:sldLayoutId id="2147483663" r:id="rId9"/>
    <p:sldLayoutId id="2147483662" r:id="rId10"/>
    <p:sldLayoutId id="2147483661" r:id="rId11"/>
    <p:sldLayoutId id="2147483650" r:id="rId12"/>
    <p:sldLayoutId id="2147483667" r:id="rId13"/>
    <p:sldLayoutId id="2147483669" r:id="rId14"/>
    <p:sldLayoutId id="2147483672" r:id="rId15"/>
    <p:sldLayoutId id="2147483670" r:id="rId16"/>
    <p:sldLayoutId id="2147483668" r:id="rId17"/>
    <p:sldLayoutId id="2147483679" r:id="rId18"/>
    <p:sldLayoutId id="2147483673" r:id="rId19"/>
    <p:sldLayoutId id="2147483684" r:id="rId20"/>
    <p:sldLayoutId id="2147483674" r:id="rId21"/>
    <p:sldLayoutId id="2147483671" r:id="rId22"/>
    <p:sldLayoutId id="2147483681" r:id="rId23"/>
    <p:sldLayoutId id="2147483680" r:id="rId24"/>
    <p:sldLayoutId id="2147483678" r:id="rId25"/>
    <p:sldLayoutId id="2147483654" r:id="rId26"/>
    <p:sldLayoutId id="2147483655" r:id="rId27"/>
    <p:sldLayoutId id="2147483676" r:id="rId28"/>
    <p:sldLayoutId id="2147483675" r:id="rId2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500"/>
        </a:spcBef>
        <a:spcAft>
          <a:spcPts val="300"/>
        </a:spcAft>
        <a:buClr>
          <a:schemeClr val="accent1"/>
        </a:buClr>
        <a:buSzPct val="90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44500" indent="-1778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22300" indent="-1778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12800" indent="-1905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812800" indent="-1905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812800" indent="-1905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812800" indent="-1905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255" userDrawn="1">
          <p15:clr>
            <a:srgbClr val="F26B43"/>
          </p15:clr>
        </p15:guide>
        <p15:guide id="4" orient="horz" pos="4020" userDrawn="1">
          <p15:clr>
            <a:srgbClr val="F26B43"/>
          </p15:clr>
        </p15:guide>
        <p15:guide id="5" orient="horz" pos="98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F80799D-B919-428B-8AC5-F08B68BC5A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09358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47" imgH="348" progId="TCLayout.ActiveDocument.1">
                  <p:embed/>
                </p:oleObj>
              </mc:Choice>
              <mc:Fallback>
                <p:oleObj name="think-cell Folie" r:id="rId32" imgW="347" imgH="34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F80799D-B919-428B-8AC5-F08B68BC5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6CC85BAA-8B3D-478F-91FB-9282E2857359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0AB949E-C448-4ADE-AD76-FB36F5D481A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692696"/>
            <a:ext cx="11376645" cy="64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add tex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C8B4D2-A369-4BFC-B228-C43EB047C3A3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07368" y="1557328"/>
            <a:ext cx="11376000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B9588F-5FBF-4994-998B-73E17C5843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568632" y="6561368"/>
            <a:ext cx="216000" cy="180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lnSpc>
                <a:spcPct val="100000"/>
              </a:lnSpc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140A39-527A-45CF-A911-B921024B92E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50A3C1E-CEB3-4F92-9229-E1D718E64A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095999" y="6561368"/>
            <a:ext cx="53640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GB" noProof="0"/>
              <a:t>BayWa r.e. Company Presentation 2020</a:t>
            </a:r>
            <a:endParaRPr lang="en-US" noProof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86E307EE-4D0E-4E87-8290-B3F6FD62B6C7}"/>
              </a:ext>
            </a:extLst>
          </p:cNvPr>
          <p:cNvSpPr/>
          <p:nvPr userDrawn="1"/>
        </p:nvSpPr>
        <p:spPr>
          <a:xfrm>
            <a:off x="11510963" y="6579368"/>
            <a:ext cx="0" cy="144000"/>
          </a:xfrm>
          <a:custGeom>
            <a:avLst/>
            <a:gdLst>
              <a:gd name="connsiteX0" fmla="*/ 0 w 0"/>
              <a:gd name="connsiteY0" fmla="*/ 0 h 185737"/>
              <a:gd name="connsiteX1" fmla="*/ 0 w 0"/>
              <a:gd name="connsiteY1" fmla="*/ 185737 h 18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85737">
                <a:moveTo>
                  <a:pt x="0" y="0"/>
                </a:moveTo>
                <a:lnTo>
                  <a:pt x="0" y="185737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B36D08F1-04FF-4809-9E33-F949A46F800D}"/>
              </a:ext>
            </a:extLst>
          </p:cNvPr>
          <p:cNvGrpSpPr/>
          <p:nvPr userDrawn="1"/>
        </p:nvGrpSpPr>
        <p:grpSpPr>
          <a:xfrm>
            <a:off x="407988" y="404664"/>
            <a:ext cx="225426" cy="225425"/>
            <a:chOff x="10848975" y="6561138"/>
            <a:chExt cx="225426" cy="225425"/>
          </a:xfrm>
        </p:grpSpPr>
        <p:sp>
          <p:nvSpPr>
            <p:cNvPr id="27" name="Rectangle 5">
              <a:extLst>
                <a:ext uri="{FF2B5EF4-FFF2-40B4-BE49-F238E27FC236}">
                  <a16:creationId xmlns:a16="http://schemas.microsoft.com/office/drawing/2014/main" id="{82796679-3647-4877-8E89-A77681941C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848975" y="6618288"/>
              <a:ext cx="168275" cy="168275"/>
            </a:xfrm>
            <a:prstGeom prst="rect">
              <a:avLst/>
            </a:prstGeom>
            <a:solidFill>
              <a:srgbClr val="F9D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211D52B6-D435-4C96-B1D5-266EA891F9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48975" y="6561138"/>
              <a:ext cx="225425" cy="225425"/>
            </a:xfrm>
            <a:custGeom>
              <a:avLst/>
              <a:gdLst>
                <a:gd name="T0" fmla="*/ 0 w 142"/>
                <a:gd name="T1" fmla="*/ 36 h 142"/>
                <a:gd name="T2" fmla="*/ 106 w 142"/>
                <a:gd name="T3" fmla="*/ 0 h 142"/>
                <a:gd name="T4" fmla="*/ 142 w 142"/>
                <a:gd name="T5" fmla="*/ 107 h 142"/>
                <a:gd name="T6" fmla="*/ 35 w 142"/>
                <a:gd name="T7" fmla="*/ 142 h 142"/>
                <a:gd name="T8" fmla="*/ 0 w 142"/>
                <a:gd name="T9" fmla="*/ 3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142">
                  <a:moveTo>
                    <a:pt x="0" y="36"/>
                  </a:moveTo>
                  <a:lnTo>
                    <a:pt x="106" y="0"/>
                  </a:lnTo>
                  <a:lnTo>
                    <a:pt x="142" y="107"/>
                  </a:lnTo>
                  <a:lnTo>
                    <a:pt x="35" y="142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78B9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Rectangle 7">
              <a:extLst>
                <a:ext uri="{FF2B5EF4-FFF2-40B4-BE49-F238E27FC236}">
                  <a16:creationId xmlns:a16="http://schemas.microsoft.com/office/drawing/2014/main" id="{CC46E1F4-DAAB-4CDD-8ADC-F75FE8CDD8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04538" y="6561138"/>
              <a:ext cx="169863" cy="169863"/>
            </a:xfrm>
            <a:prstGeom prst="rect">
              <a:avLst/>
            </a:prstGeom>
            <a:solidFill>
              <a:srgbClr val="008C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1" name="Grafik 30">
            <a:extLst>
              <a:ext uri="{FF2B5EF4-FFF2-40B4-BE49-F238E27FC236}">
                <a16:creationId xmlns:a16="http://schemas.microsoft.com/office/drawing/2014/main" id="{8776EEAC-C09D-4EDB-95BC-ED4EC31735AC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6606876"/>
            <a:ext cx="809454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287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682" r:id="rId2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500"/>
        </a:spcBef>
        <a:spcAft>
          <a:spcPts val="300"/>
        </a:spcAft>
        <a:buClr>
          <a:schemeClr val="accent1"/>
        </a:buClr>
        <a:buSzPct val="90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44500" indent="-1778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22300" indent="-1778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12800" indent="-1905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812800" indent="-1905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812800" indent="-1905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812800" indent="-1905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255" userDrawn="1">
          <p15:clr>
            <a:srgbClr val="F26B43"/>
          </p15:clr>
        </p15:guide>
        <p15:guide id="4" orient="horz" pos="4020" userDrawn="1">
          <p15:clr>
            <a:srgbClr val="F26B43"/>
          </p15:clr>
        </p15:guide>
        <p15:guide id="5" orient="horz" pos="9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8.xml"/><Relationship Id="rId7" Type="http://schemas.openxmlformats.org/officeDocument/2006/relationships/oleObject" Target="../embeddings/oleObject3.bin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1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4" Type="http://schemas.openxmlformats.org/officeDocument/2006/relationships/image" Target="../media/image1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image" Target="../media/image15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4" Type="http://schemas.openxmlformats.org/officeDocument/2006/relationships/image" Target="../media/image15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3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image" Target="../media/image15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mailto:registrator@naturvardsverket.se" TargetMode="Externa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image" Target="../media/image18.png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17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image" Target="../media/image15.jpeg"/><Relationship Id="rId5" Type="http://schemas.openxmlformats.org/officeDocument/2006/relationships/tags" Target="../tags/tag15.xml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831BBDA-2404-4E02-987B-9FCE17CFD7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193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59" imgH="358" progId="TCLayout.ActiveDocument.1">
                  <p:embed/>
                </p:oleObj>
              </mc:Choice>
              <mc:Fallback>
                <p:oleObj name="think-cell Slide" r:id="rId7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831BBDA-2404-4E02-987B-9FCE17CFD7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0ED480F-6599-4CD6-A446-CB108DBDE90E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4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9B4E9DF7-1A8D-4C53-B737-6C5490162932}"/>
              </a:ext>
            </a:extLst>
          </p:cNvPr>
          <p:cNvPicPr>
            <a:picLocks noGrp="1" noChangeAspect="1"/>
          </p:cNvPicPr>
          <p:nvPr>
            <p:ph type="pic" sz="quarter" idx="10"/>
            <p:custDataLst>
              <p:tags r:id="rId3"/>
            </p:custDataLst>
          </p:nvPr>
        </p:nvPicPr>
        <p:blipFill>
          <a:blip r:embed="rId9"/>
          <a:srcRect l="23878" r="23878"/>
          <a:stretch>
            <a:fillRect/>
          </a:stretch>
        </p:blipFill>
        <p:spPr bwMode="gray">
          <a:xfrm>
            <a:off x="5663503" y="1628800"/>
            <a:ext cx="6528497" cy="5229225"/>
          </a:xfr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F975797-8350-462C-9AB4-BFE67C0D7E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D618346B-308C-46BC-810C-CFF1547535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A10972B4-41F0-49F4-8162-1F1808CB7C5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59CF43C-63E4-49E8-BDAF-76F01A9976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796E3A-FCFF-497E-9CF5-1D2F6D4D0D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A43BED6-2F92-4C31-BF54-6C67075E7F0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2A9C5EE-3203-4B5A-8CFC-DE60F5851DD0}"/>
              </a:ext>
            </a:extLst>
          </p:cNvPr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sv-SE"/>
              <a:t>Karhakkamaa vindkraftspark</a:t>
            </a:r>
            <a:br>
              <a:rPr lang="sv-SE"/>
            </a:br>
            <a:br>
              <a:rPr lang="sv-SE"/>
            </a:br>
            <a:r>
              <a:rPr lang="sv-SE" sz="2400">
                <a:cs typeface="Arial"/>
              </a:rPr>
              <a:t>Internationellt samråd,</a:t>
            </a:r>
            <a:br>
              <a:rPr lang="sv-SE" sz="2400">
                <a:cs typeface="Arial"/>
              </a:rPr>
            </a:br>
            <a:r>
              <a:rPr lang="sv-SE" sz="2400">
                <a:cs typeface="Arial"/>
              </a:rPr>
              <a:t>Övertorneå kommun 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5E87BF3-6471-4DCD-8668-68FB4CE2609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50523" y="5846433"/>
            <a:ext cx="7560000" cy="288032"/>
          </a:xfrm>
          <a:prstGeom prst="rect">
            <a:avLst/>
          </a:prstGeom>
        </p:spPr>
        <p:txBody>
          <a:bodyPr lIns="0" tIns="45720" rIns="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n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45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23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SE">
                <a:solidFill>
                  <a:schemeClr val="bg1"/>
                </a:solidFill>
              </a:rPr>
              <a:t>2</a:t>
            </a:r>
            <a:r>
              <a:rPr lang="sv-SE">
                <a:solidFill>
                  <a:schemeClr val="bg1"/>
                </a:solidFill>
              </a:rPr>
              <a:t>2</a:t>
            </a:r>
            <a:r>
              <a:rPr lang="de-DE">
                <a:solidFill>
                  <a:schemeClr val="bg1"/>
                </a:solidFill>
              </a:rPr>
              <a:t>/</a:t>
            </a:r>
            <a:r>
              <a:rPr lang="sv-SE">
                <a:solidFill>
                  <a:schemeClr val="bg1"/>
                </a:solidFill>
              </a:rPr>
              <a:t>02</a:t>
            </a:r>
            <a:r>
              <a:rPr lang="de-DE">
                <a:solidFill>
                  <a:schemeClr val="bg1"/>
                </a:solidFill>
              </a:rPr>
              <a:t>/202</a:t>
            </a:r>
            <a:r>
              <a:rPr lang="sv-SE">
                <a:solidFill>
                  <a:schemeClr val="bg1"/>
                </a:solidFill>
              </a:rPr>
              <a:t>4</a:t>
            </a:r>
            <a:endParaRPr lang="de-DE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7267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AEB18EA-3EFE-7A53-C6A2-D055DCE0C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7" y="692696"/>
            <a:ext cx="11376645" cy="648000"/>
          </a:xfrm>
        </p:spPr>
        <p:txBody>
          <a:bodyPr anchor="t">
            <a:normAutofit/>
          </a:bodyPr>
          <a:lstStyle/>
          <a:p>
            <a:r>
              <a:rPr lang="sv-SE"/>
              <a:t>Tillståndsprocess för vindkraftspark i Finland 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EE722398-7833-822D-0542-EE2624CC341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07368" y="1850548"/>
            <a:ext cx="11376000" cy="4237560"/>
          </a:xfrm>
          <a:noFill/>
        </p:spPr>
      </p:pic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F8B9B717-C0D5-D818-60EA-515856001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68632" y="6561368"/>
            <a:ext cx="216000" cy="180000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3B140A39-527A-45CF-A911-B921024B92E6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1042CC8-890C-F618-11F9-AA9C6D4DEFB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095999" y="6561368"/>
            <a:ext cx="5364000" cy="180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600"/>
              <a:t>BayWa r.e. Company Presentation 2020</a:t>
            </a:r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37883272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10">
            <a:extLst>
              <a:ext uri="{FF2B5EF4-FFF2-40B4-BE49-F238E27FC236}">
                <a16:creationId xmlns:a16="http://schemas.microsoft.com/office/drawing/2014/main" id="{7969EA30-766A-49E5-A525-DF9474169CF7}"/>
              </a:ext>
            </a:extLst>
          </p:cNvPr>
          <p:cNvPicPr>
            <a:picLocks noGrp="1" noChangeAspect="1"/>
          </p:cNvPicPr>
          <p:nvPr>
            <p:ph type="pic" sz="quarter" idx="10"/>
            <p:custDataLst>
              <p:tags r:id="rId1"/>
            </p:custDataLst>
          </p:nvPr>
        </p:nvPicPr>
        <p:blipFill>
          <a:blip r:embed="rId4"/>
          <a:srcRect l="40113" r="40113"/>
          <a:stretch>
            <a:fillRect/>
          </a:stretch>
        </p:blipFill>
        <p:spPr bwMode="gray">
          <a:xfrm>
            <a:off x="479425" y="0"/>
            <a:ext cx="3240088" cy="6858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EC34C4-4393-4CE1-9EE5-6E9B9D5BF7B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0FEB20-7380-4D27-AF92-EDCE0F808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CBEE844-16E2-4CDB-9D73-314FFFDC3E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v-SE"/>
              <a:t>3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908058-4AE8-4F6F-8C5D-C324F2598F3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itel 12">
            <a:extLst>
              <a:ext uri="{FF2B5EF4-FFF2-40B4-BE49-F238E27FC236}">
                <a16:creationId xmlns:a16="http://schemas.microsoft.com/office/drawing/2014/main" id="{6089B662-5E93-4987-80DB-AC06B939521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4943871" y="2765067"/>
            <a:ext cx="6254959" cy="1944000"/>
          </a:xfrm>
        </p:spPr>
        <p:txBody>
          <a:bodyPr/>
          <a:lstStyle/>
          <a:p>
            <a:r>
              <a:rPr lang="sv-SE" sz="5400">
                <a:solidFill>
                  <a:srgbClr val="78B90F"/>
                </a:solidFill>
                <a:latin typeface="+mn-lt"/>
                <a:ea typeface="+mn-ea"/>
                <a:cs typeface="+mn-cs"/>
              </a:rPr>
              <a:t>Miljökonsekvens-beskrivningen</a:t>
            </a:r>
            <a:br>
              <a:rPr lang="de-DE"/>
            </a:br>
            <a:endParaRPr lang="de-D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86463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61B0FBB-1CEE-21E7-F25D-194CAE20F8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Avståndszoner 2-30 km runt projektområdet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8B4C7EE1-68E8-764B-2C8C-781ECC8E61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0A39-527A-45CF-A911-B921024B92E6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D883595-A13E-E1F1-BBB6-B81EA4B94FE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BayWa </a:t>
            </a:r>
            <a:r>
              <a:rPr lang="en-GB" err="1"/>
              <a:t>r.e</a:t>
            </a:r>
            <a:r>
              <a:rPr lang="en-GB"/>
              <a:t>. Company Presentation 2020</a:t>
            </a:r>
            <a:endParaRPr lang="en-US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E2865ED-50AD-178D-9641-F8CC1EAE14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2261" y="1124515"/>
            <a:ext cx="7666097" cy="5422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4732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50C2F3D1-101E-BB99-3C2D-81A72C2ACF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340696"/>
            <a:ext cx="5472000" cy="5347780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sv-SE" b="0">
                <a:solidFill>
                  <a:schemeClr val="tx1"/>
                </a:solidFill>
              </a:rPr>
              <a:t>konsekvenserna för markanvändningen </a:t>
            </a:r>
            <a:r>
              <a:rPr lang="sv-SE" b="0" i="1">
                <a:solidFill>
                  <a:schemeClr val="tx1"/>
                </a:solidFill>
              </a:rPr>
              <a:t>(ca 5km)</a:t>
            </a:r>
            <a:endParaRPr lang="sv-SE" b="0" i="1">
              <a:solidFill>
                <a:schemeClr val="tx1"/>
              </a:solidFill>
              <a:cs typeface="Arial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sv-SE" b="0"/>
              <a:t>konsekvenserna för landskapet och betydande landskapsområden </a:t>
            </a:r>
            <a:r>
              <a:rPr lang="sv-SE" b="0" i="1"/>
              <a:t>(1-12km)</a:t>
            </a:r>
            <a:endParaRPr lang="sv-SE" b="0" i="1">
              <a:cs typeface="Arial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sv-SE" b="0">
                <a:solidFill>
                  <a:schemeClr val="tx1"/>
                </a:solidFill>
              </a:rPr>
              <a:t>konsekvenserna för fornminnen och områdets kulturhistoria </a:t>
            </a:r>
            <a:r>
              <a:rPr lang="sv-SE" b="0" i="1">
                <a:solidFill>
                  <a:schemeClr val="tx1"/>
                </a:solidFill>
              </a:rPr>
              <a:t>(byggplatsspecifikt)</a:t>
            </a:r>
            <a:endParaRPr lang="sv-SE" b="0" i="1">
              <a:solidFill>
                <a:schemeClr val="tx1"/>
              </a:solidFill>
              <a:cs typeface="Arial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sv-SE" b="0">
                <a:solidFill>
                  <a:schemeClr val="tx1"/>
                </a:solidFill>
              </a:rPr>
              <a:t>konsekvenserna för byggplatsernas naturmiljö </a:t>
            </a:r>
            <a:r>
              <a:rPr lang="sv-SE" b="0" i="1">
                <a:solidFill>
                  <a:schemeClr val="tx1"/>
                </a:solidFill>
              </a:rPr>
              <a:t>(projektområde)</a:t>
            </a:r>
            <a:endParaRPr lang="sv-SE" b="0" i="1">
              <a:solidFill>
                <a:schemeClr val="tx1"/>
              </a:solidFill>
              <a:cs typeface="Arial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sv-SE" b="0">
                <a:solidFill>
                  <a:schemeClr val="tx1"/>
                </a:solidFill>
              </a:rPr>
              <a:t>konsekvenserna för häckande fåglar och flyttfåglar </a:t>
            </a:r>
            <a:r>
              <a:rPr lang="sv-SE" b="0" i="1">
                <a:solidFill>
                  <a:schemeClr val="tx1"/>
                </a:solidFill>
              </a:rPr>
              <a:t>(projektområde)</a:t>
            </a:r>
            <a:endParaRPr lang="sv-SE" b="0" i="1">
              <a:solidFill>
                <a:schemeClr val="tx1"/>
              </a:solidFill>
              <a:cs typeface="Arial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sv-SE" b="0">
                <a:solidFill>
                  <a:schemeClr val="tx1"/>
                </a:solidFill>
              </a:rPr>
              <a:t>konsekvenserna för närliggande Natura-områden och andra naturskyddsområden </a:t>
            </a:r>
            <a:r>
              <a:rPr lang="sv-SE" b="0" i="1">
                <a:solidFill>
                  <a:schemeClr val="tx1"/>
                </a:solidFill>
              </a:rPr>
              <a:t>(projektområde)</a:t>
            </a:r>
            <a:endParaRPr lang="sv-SE" b="0" i="1">
              <a:solidFill>
                <a:schemeClr val="tx1"/>
              </a:solidFill>
              <a:cs typeface="Arial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sv-SE" b="0" i="1">
                <a:solidFill>
                  <a:schemeClr val="tx1"/>
                </a:solidFill>
              </a:rPr>
              <a:t> </a:t>
            </a:r>
            <a:r>
              <a:rPr lang="sv-SE" b="0">
                <a:solidFill>
                  <a:schemeClr val="tx1"/>
                </a:solidFill>
              </a:rPr>
              <a:t>konsekvenserna från buller och skuggor </a:t>
            </a:r>
            <a:r>
              <a:rPr lang="sv-SE" b="0" i="1">
                <a:solidFill>
                  <a:schemeClr val="tx1"/>
                </a:solidFill>
              </a:rPr>
              <a:t>(1-3km)</a:t>
            </a:r>
            <a:endParaRPr lang="sv-SE" b="0" i="1">
              <a:solidFill>
                <a:schemeClr val="tx1"/>
              </a:solidFill>
              <a:cs typeface="Arial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sv-SE" b="0" i="1"/>
              <a:t> </a:t>
            </a:r>
            <a:r>
              <a:rPr lang="sv-SE" b="0"/>
              <a:t>konsekvenserna för människornas hälsa, livsmiljö och trivsel </a:t>
            </a:r>
            <a:r>
              <a:rPr lang="sv-SE" b="0" i="1"/>
              <a:t>(ca 30km, mer detaljerad 5-10km)</a:t>
            </a:r>
            <a:endParaRPr lang="sv-SE" b="0" i="1">
              <a:cs typeface="Arial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sv-SE" b="0" i="1">
                <a:solidFill>
                  <a:schemeClr val="tx1"/>
                </a:solidFill>
              </a:rPr>
              <a:t> </a:t>
            </a:r>
            <a:r>
              <a:rPr lang="sv-SE" b="0">
                <a:solidFill>
                  <a:schemeClr val="tx1"/>
                </a:solidFill>
              </a:rPr>
              <a:t>samverkanseffekter med andra projekt </a:t>
            </a:r>
            <a:r>
              <a:rPr lang="sv-SE" b="0" i="1">
                <a:solidFill>
                  <a:schemeClr val="tx1"/>
                </a:solidFill>
              </a:rPr>
              <a:t>(per konsekvenstyp)</a:t>
            </a:r>
            <a:endParaRPr lang="sv-SE" b="0" i="1">
              <a:solidFill>
                <a:schemeClr val="tx1"/>
              </a:solidFill>
              <a:cs typeface="Arial"/>
            </a:endParaRPr>
          </a:p>
        </p:txBody>
      </p:sp>
      <p:pic>
        <p:nvPicPr>
          <p:cNvPr id="10" name="Platshållare för bild 9" descr="En bild som visar text, karta, kartbok, diagram&#10;&#10;Automatiskt genererad beskrivning">
            <a:extLst>
              <a:ext uri="{FF2B5EF4-FFF2-40B4-BE49-F238E27FC236}">
                <a16:creationId xmlns:a16="http://schemas.microsoft.com/office/drawing/2014/main" id="{A8F0AD4C-3FF0-A36B-2FD5-638D313E2F9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17" r="28198"/>
          <a:stretch/>
        </p:blipFill>
        <p:spPr>
          <a:xfrm>
            <a:off x="7358348" y="0"/>
            <a:ext cx="4833652" cy="6858000"/>
          </a:xfrm>
        </p:spPr>
      </p:pic>
      <p:sp>
        <p:nvSpPr>
          <p:cNvPr id="4" name="Rubrik 3">
            <a:extLst>
              <a:ext uri="{FF2B5EF4-FFF2-40B4-BE49-F238E27FC236}">
                <a16:creationId xmlns:a16="http://schemas.microsoft.com/office/drawing/2014/main" id="{52800398-E4EF-A330-F5DD-5EEBC8514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Miljökonsekvenser som ska bedömas</a:t>
            </a:r>
            <a:br>
              <a:rPr lang="sv-SE"/>
            </a:br>
            <a:endParaRPr lang="sv-SE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135521B6-B484-719A-021A-934578CA3A6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C5B173E7-4A4A-6F9B-CF7F-AD18B384C79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E351E51-9EB9-EAE9-F9CE-B413170FE50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4695E0CA-82B0-EEEA-2A0D-55F843D8902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034137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latshållare för bild 15" descr="En bild som visar utomhus, himmel, moln, enhet&#10;&#10;Automatiskt genererad beskrivning">
            <a:extLst>
              <a:ext uri="{FF2B5EF4-FFF2-40B4-BE49-F238E27FC236}">
                <a16:creationId xmlns:a16="http://schemas.microsoft.com/office/drawing/2014/main" id="{1A862D80-86C2-F36E-C7D2-0A7BB558B99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89" b="14189"/>
          <a:stretch>
            <a:fillRect/>
          </a:stretch>
        </p:blipFill>
        <p:spPr>
          <a:xfrm>
            <a:off x="5255999" y="0"/>
            <a:ext cx="6936001" cy="2780616"/>
          </a:xfrm>
        </p:spPr>
      </p:pic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129E5B37-6D3E-03BC-4297-4582AF12477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960E5D8A-1217-D2BC-1F7E-CCFDB8589D4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6DDE9902-4D21-E4DF-49E5-AE3E7B54B2D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1FCA5AA3-23F4-5318-BA26-B8A31556D82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D1D3C367-EEC5-ACE2-6F4C-38F5DAE53F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013" y="3485808"/>
            <a:ext cx="3933813" cy="2326797"/>
          </a:xfrm>
        </p:spPr>
        <p:txBody>
          <a:bodyPr/>
          <a:lstStyle/>
          <a:p>
            <a:r>
              <a:rPr lang="sv-SE" sz="1200"/>
              <a:t>Området för </a:t>
            </a:r>
            <a:r>
              <a:rPr lang="sv-SE" sz="1200" err="1"/>
              <a:t>Karhakkamaa</a:t>
            </a:r>
            <a:r>
              <a:rPr lang="sv-SE" sz="1200"/>
              <a:t> vindkraftspark ligger inom ett </a:t>
            </a:r>
            <a:r>
              <a:rPr lang="sv-SE" sz="1200" b="1"/>
              <a:t>område som lämpar sig för vindkraftsverksamhet</a:t>
            </a:r>
            <a:r>
              <a:rPr lang="sv-SE" sz="1200"/>
              <a:t> och bygger på den befintliga infrastrukturen. </a:t>
            </a:r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DFA8605D-DC48-836C-B81B-A6BDB203DD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1804" y="3464627"/>
            <a:ext cx="3168000" cy="1584000"/>
          </a:xfrm>
        </p:spPr>
        <p:txBody>
          <a:bodyPr/>
          <a:lstStyle/>
          <a:p>
            <a:r>
              <a:rPr lang="sv-SE" sz="1200"/>
              <a:t>Verksamheten nyttjar områdets befintliga vägnät och trafiken som verksamheten orsakar </a:t>
            </a:r>
            <a:r>
              <a:rPr lang="sv-SE" sz="1200" b="1"/>
              <a:t>medför inga förändringar i det allmänna vägnätet.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735FFD0A-634A-7EF0-31B6-CE2C24928D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616652" y="3464627"/>
            <a:ext cx="3168000" cy="1584000"/>
          </a:xfrm>
        </p:spPr>
        <p:txBody>
          <a:bodyPr/>
          <a:lstStyle/>
          <a:p>
            <a:r>
              <a:rPr lang="sv-SE" sz="1200"/>
              <a:t>Vindkraftsparker ligger i linje med de riksomfattande </a:t>
            </a:r>
            <a:r>
              <a:rPr lang="sv-SE" sz="1200" b="1"/>
              <a:t>målen för områdesanvändningen</a:t>
            </a:r>
            <a:r>
              <a:rPr lang="sv-SE" sz="1200"/>
              <a:t> (RMO) och stödjer särskilt genomförandet av de mål som berör användningen av </a:t>
            </a:r>
            <a:r>
              <a:rPr lang="sv-SE" sz="1200" b="1"/>
              <a:t>förnybar energi.</a:t>
            </a:r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209F0640-3E71-6B87-7E0F-EAE31534130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348" y="2959251"/>
            <a:ext cx="360000" cy="36000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7DE6684B-C564-7DB2-7358-E483EE3D29E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11824" y="2961740"/>
            <a:ext cx="360000" cy="360000"/>
          </a:xfrm>
        </p:spPr>
        <p:txBody>
          <a:bodyPr/>
          <a:lstStyle/>
          <a:p>
            <a:endParaRPr lang="sv-SE"/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2610CEEA-9807-2872-D1B6-99DFD6D3E9D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16280" y="2965012"/>
            <a:ext cx="360000" cy="360000"/>
          </a:xfrm>
        </p:spPr>
        <p:txBody>
          <a:bodyPr/>
          <a:lstStyle/>
          <a:p>
            <a:endParaRPr lang="sv-SE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0A0C4772-3C66-A841-6310-39F1B41C7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Sammanfattning av miljökonsekvenser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A82FD187-29BB-8CF5-7DA1-3529C7B9A8A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17" name="Platshållare för text 6">
            <a:extLst>
              <a:ext uri="{FF2B5EF4-FFF2-40B4-BE49-F238E27FC236}">
                <a16:creationId xmlns:a16="http://schemas.microsoft.com/office/drawing/2014/main" id="{7C53F789-0DAE-F2D8-D131-08FE6BCB47BE}"/>
              </a:ext>
            </a:extLst>
          </p:cNvPr>
          <p:cNvSpPr txBox="1">
            <a:spLocks/>
          </p:cNvSpPr>
          <p:nvPr/>
        </p:nvSpPr>
        <p:spPr bwMode="gray">
          <a:xfrm>
            <a:off x="407013" y="5066197"/>
            <a:ext cx="3168000" cy="93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1200"/>
              <a:t>De planerade vindkraftverken ligger på </a:t>
            </a:r>
            <a:r>
              <a:rPr lang="sv-SE" sz="1200" b="1"/>
              <a:t>behörigt avstånd</a:t>
            </a:r>
            <a:r>
              <a:rPr lang="sv-SE" sz="1200"/>
              <a:t> från befintlig och planlagd bebyggelse. </a:t>
            </a:r>
            <a:endParaRPr lang="sv-SE" sz="1200">
              <a:cs typeface="Arial"/>
            </a:endParaRPr>
          </a:p>
          <a:p>
            <a:endParaRPr lang="sv-SE"/>
          </a:p>
        </p:txBody>
      </p:sp>
      <p:sp>
        <p:nvSpPr>
          <p:cNvPr id="18" name="Platshållare för text 7">
            <a:extLst>
              <a:ext uri="{FF2B5EF4-FFF2-40B4-BE49-F238E27FC236}">
                <a16:creationId xmlns:a16="http://schemas.microsoft.com/office/drawing/2014/main" id="{A685AE01-165D-6AD4-A9E4-915648FB69C0}"/>
              </a:ext>
            </a:extLst>
          </p:cNvPr>
          <p:cNvSpPr txBox="1">
            <a:spLocks/>
          </p:cNvSpPr>
          <p:nvPr/>
        </p:nvSpPr>
        <p:spPr bwMode="gray">
          <a:xfrm>
            <a:off x="4467834" y="5066197"/>
            <a:ext cx="3338998" cy="93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1200"/>
              <a:t>De totala </a:t>
            </a:r>
            <a:r>
              <a:rPr lang="sv-SE" sz="1200" b="1"/>
              <a:t>konsekvenserna</a:t>
            </a:r>
            <a:r>
              <a:rPr lang="sv-SE" sz="1200"/>
              <a:t> i projektet har bedömts som </a:t>
            </a:r>
            <a:r>
              <a:rPr lang="sv-SE" sz="1200" b="1"/>
              <a:t>ringa</a:t>
            </a:r>
            <a:r>
              <a:rPr lang="sv-SE" sz="1200"/>
              <a:t>. Det finns ingen betydande skillnad i konsekvenser mellan olika alternativ för vindkraftsparken.</a:t>
            </a:r>
          </a:p>
        </p:txBody>
      </p:sp>
      <p:pic>
        <p:nvPicPr>
          <p:cNvPr id="19" name="Bildobjekt 18">
            <a:extLst>
              <a:ext uri="{FF2B5EF4-FFF2-40B4-BE49-F238E27FC236}">
                <a16:creationId xmlns:a16="http://schemas.microsoft.com/office/drawing/2014/main" id="{4B33FCA1-DAED-1B1B-A9DD-E88060B81B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013" y="4543403"/>
            <a:ext cx="359695" cy="359695"/>
          </a:xfrm>
          <a:prstGeom prst="rect">
            <a:avLst/>
          </a:prstGeom>
        </p:spPr>
      </p:pic>
      <p:pic>
        <p:nvPicPr>
          <p:cNvPr id="20" name="Bildobjekt 19">
            <a:extLst>
              <a:ext uri="{FF2B5EF4-FFF2-40B4-BE49-F238E27FC236}">
                <a16:creationId xmlns:a16="http://schemas.microsoft.com/office/drawing/2014/main" id="{34F1940A-35AE-9197-6E3E-4D9966DDD2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11804" y="4543403"/>
            <a:ext cx="359695" cy="359695"/>
          </a:xfrm>
          <a:prstGeom prst="rect">
            <a:avLst/>
          </a:prstGeom>
        </p:spPr>
      </p:pic>
      <p:sp>
        <p:nvSpPr>
          <p:cNvPr id="21" name="Platshållare för text 10">
            <a:extLst>
              <a:ext uri="{FF2B5EF4-FFF2-40B4-BE49-F238E27FC236}">
                <a16:creationId xmlns:a16="http://schemas.microsoft.com/office/drawing/2014/main" id="{08C60D2B-2999-EBDC-2BAE-853002E345F2}"/>
              </a:ext>
            </a:extLst>
          </p:cNvPr>
          <p:cNvSpPr txBox="1">
            <a:spLocks/>
          </p:cNvSpPr>
          <p:nvPr/>
        </p:nvSpPr>
        <p:spPr>
          <a:xfrm>
            <a:off x="8497123" y="5099703"/>
            <a:ext cx="3407058" cy="936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n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45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23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1200" b="0">
                <a:solidFill>
                  <a:schemeClr val="tx1"/>
                </a:solidFill>
              </a:rPr>
              <a:t>I vindkraftverkens byggområden har projektet en direkt</a:t>
            </a:r>
            <a:r>
              <a:rPr lang="sv-SE" sz="1200">
                <a:solidFill>
                  <a:schemeClr val="tx1"/>
                </a:solidFill>
              </a:rPr>
              <a:t> inverkan på markanvändningen</a:t>
            </a:r>
            <a:r>
              <a:rPr lang="sv-SE" sz="1200" b="0">
                <a:solidFill>
                  <a:schemeClr val="tx1"/>
                </a:solidFill>
              </a:rPr>
              <a:t> då den förändrar jord- och skogsbruksområden till bebyggda områden.</a:t>
            </a:r>
          </a:p>
        </p:txBody>
      </p:sp>
      <p:pic>
        <p:nvPicPr>
          <p:cNvPr id="22" name="Bildobjekt 21">
            <a:extLst>
              <a:ext uri="{FF2B5EF4-FFF2-40B4-BE49-F238E27FC236}">
                <a16:creationId xmlns:a16="http://schemas.microsoft.com/office/drawing/2014/main" id="{EE0A8023-A7B6-E1A4-1691-FC186DE38C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16280" y="4740008"/>
            <a:ext cx="359695" cy="359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1308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10">
            <a:extLst>
              <a:ext uri="{FF2B5EF4-FFF2-40B4-BE49-F238E27FC236}">
                <a16:creationId xmlns:a16="http://schemas.microsoft.com/office/drawing/2014/main" id="{7969EA30-766A-49E5-A525-DF9474169CF7}"/>
              </a:ext>
            </a:extLst>
          </p:cNvPr>
          <p:cNvPicPr>
            <a:picLocks noGrp="1" noChangeAspect="1"/>
          </p:cNvPicPr>
          <p:nvPr>
            <p:ph type="pic" sz="quarter" idx="10"/>
            <p:custDataLst>
              <p:tags r:id="rId1"/>
            </p:custDataLst>
          </p:nvPr>
        </p:nvPicPr>
        <p:blipFill>
          <a:blip r:embed="rId4"/>
          <a:srcRect l="40113" r="40113"/>
          <a:stretch>
            <a:fillRect/>
          </a:stretch>
        </p:blipFill>
        <p:spPr bwMode="gray">
          <a:xfrm>
            <a:off x="479425" y="0"/>
            <a:ext cx="3240088" cy="6858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EC34C4-4393-4CE1-9EE5-6E9B9D5BF7B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0FEB20-7380-4D27-AF92-EDCE0F808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CBEE844-16E2-4CDB-9D73-314FFFDC3E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v-SE"/>
              <a:t>4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908058-4AE8-4F6F-8C5D-C324F2598F3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itel 12">
            <a:extLst>
              <a:ext uri="{FF2B5EF4-FFF2-40B4-BE49-F238E27FC236}">
                <a16:creationId xmlns:a16="http://schemas.microsoft.com/office/drawing/2014/main" id="{6089B662-5E93-4987-80DB-AC06B939521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4943871" y="2765067"/>
            <a:ext cx="6477209" cy="1944000"/>
          </a:xfrm>
        </p:spPr>
        <p:txBody>
          <a:bodyPr/>
          <a:lstStyle/>
          <a:p>
            <a:r>
              <a:rPr lang="de-DE" sz="5400" err="1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Ljudberäkning</a:t>
            </a:r>
            <a:r>
              <a:rPr lang="de-DE" sz="54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och </a:t>
            </a:r>
            <a:r>
              <a:rPr lang="de-DE" sz="5400">
                <a:solidFill>
                  <a:srgbClr val="78B90F"/>
                </a:solidFill>
              </a:rPr>
              <a:t> </a:t>
            </a:r>
            <a:br>
              <a:rPr lang="de-DE" sz="5400">
                <a:solidFill>
                  <a:srgbClr val="78B90F"/>
                </a:solidFill>
              </a:rPr>
            </a:br>
            <a:r>
              <a:rPr lang="sv-SE" sz="5400">
                <a:solidFill>
                  <a:srgbClr val="78B90F"/>
                </a:solidFill>
              </a:rPr>
              <a:t>visuell påverkan</a:t>
            </a:r>
            <a:br>
              <a:rPr lang="de-DE"/>
            </a:br>
            <a:endParaRPr lang="de-D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6688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6873F0B-E5B2-1AA2-0B1E-BC3F1ED94E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arhakkamaa ljudberäkning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45372783-5F6B-8C27-7408-688B07E09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0A39-527A-45CF-A911-B921024B92E6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400AE59-A96B-BA06-76D6-B399D79F035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2CB2B05-6D94-1E05-4EBF-5A5895EE28DF}"/>
              </a:ext>
            </a:extLst>
          </p:cNvPr>
          <p:cNvSpPr txBox="1">
            <a:spLocks/>
          </p:cNvSpPr>
          <p:nvPr/>
        </p:nvSpPr>
        <p:spPr bwMode="gray">
          <a:xfrm>
            <a:off x="585543" y="1808251"/>
            <a:ext cx="3173585" cy="50497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n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45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23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b="1" i="1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Jämförelse mot riktvärde</a:t>
            </a:r>
            <a:r>
              <a:rPr lang="sv-SE" i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 </a:t>
            </a:r>
            <a:endParaRPr lang="sv-SE" b="1" i="1" u="none" strike="noStrike" baseline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en-SE" b="1" i="1" u="none" strike="noStrike" baseline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sv-SE" b="1" i="1" u="none" strike="noStrike" baseline="0">
                <a:solidFill>
                  <a:srgbClr val="000000"/>
                </a:solidFill>
                <a:latin typeface="Calibri"/>
                <a:cs typeface="Calibri"/>
              </a:rPr>
              <a:t>Ekvivalent ljudnivå (utomhus)</a:t>
            </a:r>
            <a:endParaRPr lang="sv-SE" b="0" i="0" u="none" strike="noStrike" baseline="0">
              <a:solidFill>
                <a:srgbClr val="000000"/>
              </a:solidFill>
              <a:latin typeface="Calibri"/>
              <a:cs typeface="Calibri"/>
            </a:endParaRPr>
          </a:p>
          <a:p>
            <a:r>
              <a:rPr lang="sv-SE" b="0" i="0" u="none" strike="noStrike" baseline="0">
                <a:solidFill>
                  <a:srgbClr val="000000"/>
                </a:solidFill>
                <a:latin typeface="Calibri"/>
                <a:cs typeface="Calibri"/>
              </a:rPr>
              <a:t>Riktvärdet för ekvivalent ljudnivå utomhus, 4</a:t>
            </a:r>
            <a:r>
              <a:rPr lang="sv-SE" b="0">
                <a:solidFill>
                  <a:srgbClr val="000000"/>
                </a:solidFill>
                <a:latin typeface="Calibri"/>
                <a:cs typeface="Calibri"/>
              </a:rPr>
              <a:t>0</a:t>
            </a:r>
            <a:r>
              <a:rPr lang="sv-SE" b="0" i="0" u="none" strike="noStrike" baseline="0">
                <a:solidFill>
                  <a:srgbClr val="000000"/>
                </a:solidFill>
                <a:latin typeface="Calibri"/>
                <a:cs typeface="Calibri"/>
              </a:rPr>
              <a:t> dBA, </a:t>
            </a:r>
            <a:r>
              <a:rPr lang="sv-SE">
                <a:solidFill>
                  <a:srgbClr val="6FAC46"/>
                </a:solidFill>
                <a:latin typeface="Calibri"/>
                <a:cs typeface="Calibri"/>
              </a:rPr>
              <a:t>klaras</a:t>
            </a:r>
            <a:r>
              <a:rPr lang="sv-SE" b="1" i="0" u="none" strike="noStrike" baseline="0">
                <a:solidFill>
                  <a:srgbClr val="6FAC46"/>
                </a:solidFill>
                <a:latin typeface="Calibri"/>
                <a:cs typeface="Calibri"/>
              </a:rPr>
              <a:t>.</a:t>
            </a:r>
            <a:r>
              <a:rPr lang="sv-SE" b="0" i="1">
                <a:solidFill>
                  <a:schemeClr val="tx1"/>
                </a:solidFill>
                <a:latin typeface="Calibri"/>
                <a:cs typeface="Calibri"/>
              </a:rPr>
              <a:t> </a:t>
            </a:r>
          </a:p>
          <a:p>
            <a:r>
              <a:rPr lang="sv-SE" b="0" i="1">
                <a:solidFill>
                  <a:schemeClr val="tx1"/>
                </a:solidFill>
                <a:latin typeface="Calibri"/>
                <a:cs typeface="Calibri"/>
              </a:rPr>
              <a:t>(45 i Finland dagtid)</a:t>
            </a:r>
            <a:endParaRPr lang="sv-SE">
              <a:solidFill>
                <a:schemeClr val="tx1"/>
              </a:solidFill>
            </a:endParaRPr>
          </a:p>
          <a:p>
            <a:endParaRPr lang="sv-SE" i="1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Wingdings" panose="020B0604020202020204" pitchFamily="34" charset="0"/>
              <a:buChar char="§"/>
            </a:pPr>
            <a:endParaRPr lang="sv-SE" i="1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endParaRPr lang="en-SE" b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en-SE" b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en-SE" b="0" i="0" u="none" strike="noStrike" baseline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en-SE" b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sv-SE" sz="1400" b="1"/>
          </a:p>
        </p:txBody>
      </p:sp>
      <p:pic>
        <p:nvPicPr>
          <p:cNvPr id="7" name="Content Placeholder 6" descr="A map with red circles and green lines&#10;&#10;Description automatically generated">
            <a:extLst>
              <a:ext uri="{FF2B5EF4-FFF2-40B4-BE49-F238E27FC236}">
                <a16:creationId xmlns:a16="http://schemas.microsoft.com/office/drawing/2014/main" id="{1BADC9D0-0EB1-C3A3-3195-78024FC34A6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789090" y="308149"/>
            <a:ext cx="5210851" cy="6185605"/>
          </a:xfrm>
        </p:spPr>
      </p:pic>
    </p:spTree>
    <p:extLst>
      <p:ext uri="{BB962C8B-B14F-4D97-AF65-F5344CB8AC3E}">
        <p14:creationId xmlns:p14="http://schemas.microsoft.com/office/powerpoint/2010/main" val="42839481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AB4206B-99B0-C415-C58C-52B395472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Visuell påverkan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D32CE90-4872-52BC-A13C-75DBFED745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7" y="1557328"/>
            <a:ext cx="5150053" cy="4824000"/>
          </a:xfrm>
        </p:spPr>
        <p:txBody>
          <a:bodyPr vert="horz" lIns="0" tIns="0" rIns="0" bIns="0" rtlCol="0" anchor="t">
            <a:noAutofit/>
          </a:bodyPr>
          <a:lstStyle/>
          <a:p>
            <a:pPr fontAlgn="base"/>
            <a:r>
              <a:rPr lang="sv-SE" sz="1400" b="0" i="0">
                <a:solidFill>
                  <a:srgbClr val="000000"/>
                </a:solidFill>
                <a:effectLst/>
                <a:latin typeface="Arial"/>
                <a:cs typeface="Arial"/>
              </a:rPr>
              <a:t>Vindkraftverk måste placeras i områden med goda vindförhållanden, vilket oftast är på öppna ytor eller höga höjder. </a:t>
            </a:r>
            <a:r>
              <a:rPr lang="sv-SE" sz="1400" b="0">
                <a:solidFill>
                  <a:srgbClr val="000000"/>
                </a:solidFill>
                <a:latin typeface="Arial"/>
                <a:cs typeface="Arial"/>
              </a:rPr>
              <a:t>= Landskapsbilden påverkas</a:t>
            </a:r>
            <a:endParaRPr lang="sv-SE" sz="14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rtl="0" fontAlgn="base"/>
            <a:endParaRPr lang="sv-SE" sz="1400" b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fontAlgn="base"/>
            <a:r>
              <a:rPr lang="sv-SE" sz="1400" b="0" i="0">
                <a:solidFill>
                  <a:srgbClr val="000000"/>
                </a:solidFill>
                <a:effectLst/>
                <a:latin typeface="Arial"/>
                <a:cs typeface="Arial"/>
              </a:rPr>
              <a:t>Landskapet där </a:t>
            </a:r>
            <a:r>
              <a:rPr lang="sv-SE" sz="1400" b="0">
                <a:solidFill>
                  <a:srgbClr val="000000"/>
                </a:solidFill>
                <a:latin typeface="Arial"/>
                <a:cs typeface="Arial"/>
              </a:rPr>
              <a:t>vindkraftsparken</a:t>
            </a:r>
            <a:r>
              <a:rPr lang="sv-SE" sz="1400" b="0" i="0">
                <a:solidFill>
                  <a:srgbClr val="000000"/>
                </a:solidFill>
                <a:effectLst/>
                <a:latin typeface="Arial"/>
                <a:cs typeface="Arial"/>
              </a:rPr>
              <a:t> planeras utgörs i huvudsak av skog, vilket gör att vindkraftverken från många håll kommer att skymmas helt eller delvis av skogen. </a:t>
            </a:r>
            <a:endParaRPr lang="sv-SE" sz="1400" b="0">
              <a:solidFill>
                <a:srgbClr val="000000"/>
              </a:solidFill>
              <a:latin typeface="Arial"/>
              <a:cs typeface="Arial"/>
            </a:endParaRPr>
          </a:p>
          <a:p>
            <a:r>
              <a:rPr lang="sv-SE" sz="1400" b="0" i="0">
                <a:solidFill>
                  <a:srgbClr val="000000"/>
                </a:solidFill>
                <a:effectLst/>
                <a:latin typeface="Arial"/>
                <a:cs typeface="Arial"/>
              </a:rPr>
              <a:t>Från öppna ytor och högt belägna platser kommer synligheten att vara större.  </a:t>
            </a:r>
            <a:endParaRPr lang="sv-SE"/>
          </a:p>
          <a:p>
            <a:pPr rtl="0" fontAlgn="base"/>
            <a:endParaRPr lang="sv-SE" b="0" i="0">
              <a:solidFill>
                <a:srgbClr val="000000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sv-SE" sz="1400" i="1">
                <a:solidFill>
                  <a:srgbClr val="000000"/>
                </a:solidFill>
                <a:effectLst/>
                <a:latin typeface="Arial"/>
                <a:cs typeface="Arial"/>
              </a:rPr>
              <a:t>För att visa exempel på var och hur vindkraftsverken kommer att synas i Sverige </a:t>
            </a:r>
            <a:r>
              <a:rPr lang="sv-SE" sz="1400" i="1">
                <a:solidFill>
                  <a:srgbClr val="000000"/>
                </a:solidFill>
                <a:latin typeface="Arial"/>
                <a:cs typeface="Arial"/>
              </a:rPr>
              <a:t>och Finland har</a:t>
            </a:r>
            <a:r>
              <a:rPr lang="sv-SE" sz="1400" i="1">
                <a:solidFill>
                  <a:srgbClr val="000000"/>
                </a:solidFill>
                <a:effectLst/>
                <a:latin typeface="Arial"/>
                <a:cs typeface="Arial"/>
              </a:rPr>
              <a:t> fotomontage tagits fram.</a:t>
            </a:r>
            <a:endParaRPr lang="sv-SE" sz="1400" b="0" i="1">
              <a:solidFill>
                <a:srgbClr val="000000"/>
              </a:solidFill>
              <a:effectLst/>
              <a:latin typeface="Arial"/>
              <a:cs typeface="Arial"/>
            </a:endParaRPr>
          </a:p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C5F4719-9310-F827-224A-9F4B36FDDB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0A39-527A-45CF-A911-B921024B92E6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8FDA208-8FEC-341F-3F51-74C76A1A845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  <p:pic>
        <p:nvPicPr>
          <p:cNvPr id="6" name="Picture 5" descr="A map of a river&#10;&#10;Description automatically generated">
            <a:extLst>
              <a:ext uri="{FF2B5EF4-FFF2-40B4-BE49-F238E27FC236}">
                <a16:creationId xmlns:a16="http://schemas.microsoft.com/office/drawing/2014/main" id="{67613CCD-38B1-5E02-7D8A-69D9DE5358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3650" y="236538"/>
            <a:ext cx="5143500" cy="6143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4918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EFD045C-0A12-D241-CD85-1CAD6E926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28775"/>
            <a:ext cx="10515600" cy="1325563"/>
          </a:xfrm>
        </p:spPr>
        <p:txBody>
          <a:bodyPr>
            <a:normAutofit/>
          </a:bodyPr>
          <a:lstStyle/>
          <a:p>
            <a:r>
              <a:rPr lang="fi-FI" sz="2000" b="1" err="1"/>
              <a:t>Fotopunkt</a:t>
            </a:r>
            <a:r>
              <a:rPr lang="fi-FI" sz="2000" b="1"/>
              <a:t> </a:t>
            </a:r>
            <a:r>
              <a:rPr lang="fi-FI" sz="2000" b="1" err="1"/>
              <a:t>Kukkolaforsen</a:t>
            </a:r>
            <a:r>
              <a:rPr lang="fi-FI" sz="2000" b="1"/>
              <a:t> (Sverige) 21.9 km</a:t>
            </a:r>
            <a:endParaRPr lang="sv-SE" sz="2000" b="1"/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C7B7B994-C7B6-BA6C-D5C5-B4F44004CA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35719"/>
            <a:ext cx="12192000" cy="2786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329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543"/>
    </mc:Choice>
    <mc:Fallback xmlns="">
      <p:transition spd="slow" advTm="10543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>
            <a:extLst>
              <a:ext uri="{FF2B5EF4-FFF2-40B4-BE49-F238E27FC236}">
                <a16:creationId xmlns:a16="http://schemas.microsoft.com/office/drawing/2014/main" id="{7A7E67A8-A66A-7BD7-91DD-EFCBE91BD3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58598"/>
            <a:ext cx="12192000" cy="1740803"/>
          </a:xfrm>
          <a:prstGeom prst="rect">
            <a:avLst/>
          </a:prstGeom>
        </p:spPr>
      </p:pic>
      <p:sp>
        <p:nvSpPr>
          <p:cNvPr id="3" name="textruta 2">
            <a:extLst>
              <a:ext uri="{FF2B5EF4-FFF2-40B4-BE49-F238E27FC236}">
                <a16:creationId xmlns:a16="http://schemas.microsoft.com/office/drawing/2014/main" id="{01EFD443-1498-51BA-47AF-10700EACCE8D}"/>
              </a:ext>
            </a:extLst>
          </p:cNvPr>
          <p:cNvSpPr txBox="1"/>
          <p:nvPr/>
        </p:nvSpPr>
        <p:spPr>
          <a:xfrm>
            <a:off x="-28575" y="2155825"/>
            <a:ext cx="8498681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de-DE" sz="2000" b="1"/>
              <a:t>Fotopunkt </a:t>
            </a:r>
            <a:r>
              <a:rPr lang="de-DE" sz="2000" b="1" err="1"/>
              <a:t>Korpikylä</a:t>
            </a:r>
            <a:r>
              <a:rPr lang="de-DE" sz="2000" b="1"/>
              <a:t> (</a:t>
            </a:r>
            <a:r>
              <a:rPr lang="de-DE" sz="2000" b="1" err="1"/>
              <a:t>Sverige</a:t>
            </a:r>
            <a:r>
              <a:rPr lang="de-DE" sz="2000" b="1"/>
              <a:t>) 7.5 km</a:t>
            </a:r>
            <a:endParaRPr lang="sv-SE" sz="20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045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155"/>
    </mc:Choice>
    <mc:Fallback xmlns="">
      <p:transition spd="slow" advTm="11155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8F90A48-A607-0AE8-5E2D-606EB8D3C8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Internationellt samråd för vindkraftspark </a:t>
            </a:r>
            <a:r>
              <a:rPr lang="sv-SE" err="1"/>
              <a:t>Karhakkamaa</a:t>
            </a:r>
            <a:br>
              <a:rPr lang="sv-SE"/>
            </a:br>
            <a:r>
              <a:rPr lang="sv-SE"/>
              <a:t>                          </a:t>
            </a:r>
            <a:r>
              <a:rPr lang="sv-SE" sz="2400"/>
              <a:t>AGENDA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B88F93B3-5410-1BE5-963E-F4F1089B78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0A39-527A-45CF-A911-B921024B92E6}" type="slidenum">
              <a:rPr lang="en-US" smtClean="0"/>
              <a:t>2</a:t>
            </a:fld>
            <a:endParaRPr lang="en-US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E48B4FCF-ED23-E5AB-2AD7-CCFF6025FA5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BayWa r.e. Company Presentation 2022</a:t>
            </a:r>
            <a:endParaRPr lang="en-US"/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B81E1E31-D7EE-4E76-A2F8-A502C1DEB6F6}"/>
              </a:ext>
            </a:extLst>
          </p:cNvPr>
          <p:cNvSpPr txBox="1">
            <a:spLocks/>
          </p:cNvSpPr>
          <p:nvPr/>
        </p:nvSpPr>
        <p:spPr>
          <a:xfrm>
            <a:off x="6795772" y="1503460"/>
            <a:ext cx="5472000" cy="48240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n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45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23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dirty="0">
                <a:solidFill>
                  <a:schemeClr val="tx1"/>
                </a:solidFill>
              </a:rPr>
              <a:t>Datum: </a:t>
            </a:r>
            <a:r>
              <a:rPr lang="sv-SE" b="0" dirty="0">
                <a:solidFill>
                  <a:schemeClr val="tx1"/>
                </a:solidFill>
              </a:rPr>
              <a:t>22, februari 2024</a:t>
            </a:r>
          </a:p>
          <a:p>
            <a:r>
              <a:rPr lang="sv-SE" dirty="0">
                <a:solidFill>
                  <a:schemeClr val="tx1"/>
                </a:solidFill>
              </a:rPr>
              <a:t>Tid: </a:t>
            </a:r>
            <a:r>
              <a:rPr lang="sv-SE" b="0" dirty="0">
                <a:solidFill>
                  <a:schemeClr val="tx1"/>
                </a:solidFill>
              </a:rPr>
              <a:t>18:00-20:00</a:t>
            </a:r>
            <a:endParaRPr lang="sv-SE" b="0">
              <a:solidFill>
                <a:schemeClr val="tx1"/>
              </a:solidFill>
              <a:cs typeface="Arial"/>
            </a:endParaRPr>
          </a:p>
          <a:p>
            <a:r>
              <a:rPr lang="sv-SE" dirty="0">
                <a:solidFill>
                  <a:schemeClr val="tx1"/>
                </a:solidFill>
              </a:rPr>
              <a:t>Adress: </a:t>
            </a:r>
            <a:r>
              <a:rPr lang="sv-SE" b="0" dirty="0">
                <a:solidFill>
                  <a:schemeClr val="tx1"/>
                </a:solidFill>
              </a:rPr>
              <a:t>Risudden 134, 957 95 Hedenäset</a:t>
            </a:r>
            <a:endParaRPr lang="sv-SE" b="0">
              <a:solidFill>
                <a:schemeClr val="tx1"/>
              </a:solidFill>
              <a:cs typeface="Arial"/>
            </a:endParaRPr>
          </a:p>
          <a:p>
            <a:r>
              <a:rPr lang="sv-SE" dirty="0">
                <a:solidFill>
                  <a:schemeClr val="tx1"/>
                </a:solidFill>
              </a:rPr>
              <a:t>Samordnare: </a:t>
            </a:r>
            <a:r>
              <a:rPr lang="sv-SE" b="0" dirty="0" err="1">
                <a:solidFill>
                  <a:schemeClr val="tx1"/>
                </a:solidFill>
              </a:rPr>
              <a:t>Finnish</a:t>
            </a:r>
            <a:r>
              <a:rPr lang="sv-SE" b="0" dirty="0">
                <a:solidFill>
                  <a:schemeClr val="tx1"/>
                </a:solidFill>
              </a:rPr>
              <a:t> Environment </a:t>
            </a:r>
            <a:r>
              <a:rPr lang="sv-SE" b="0" dirty="0" err="1">
                <a:solidFill>
                  <a:schemeClr val="tx1"/>
                </a:solidFill>
              </a:rPr>
              <a:t>Institute</a:t>
            </a:r>
            <a:r>
              <a:rPr lang="sv-SE" b="0" dirty="0">
                <a:solidFill>
                  <a:schemeClr val="tx1"/>
                </a:solidFill>
              </a:rPr>
              <a:t> – </a:t>
            </a:r>
            <a:r>
              <a:rPr lang="sv-SE" b="0" dirty="0" err="1">
                <a:solidFill>
                  <a:schemeClr val="tx1"/>
                </a:solidFill>
              </a:rPr>
              <a:t>Syke</a:t>
            </a:r>
            <a:endParaRPr lang="sv-SE" b="0">
              <a:solidFill>
                <a:schemeClr val="tx1"/>
              </a:solidFill>
              <a:cs typeface="Arial"/>
            </a:endParaRPr>
          </a:p>
          <a:p>
            <a:endParaRPr lang="sv-SE">
              <a:solidFill>
                <a:schemeClr val="tx1"/>
              </a:solidFill>
            </a:endParaRPr>
          </a:p>
          <a:p>
            <a:endParaRPr lang="sv-SE">
              <a:solidFill>
                <a:schemeClr val="tx1"/>
              </a:solidFill>
            </a:endParaRPr>
          </a:p>
          <a:p>
            <a:r>
              <a:rPr lang="sv-SE" dirty="0">
                <a:solidFill>
                  <a:schemeClr val="tx1"/>
                </a:solidFill>
              </a:rPr>
              <a:t>Deltagare:</a:t>
            </a:r>
            <a:endParaRPr lang="sv-SE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sv-SE" b="0" dirty="0" err="1">
                <a:solidFill>
                  <a:schemeClr val="tx1"/>
                </a:solidFill>
              </a:rPr>
              <a:t>Tornio</a:t>
            </a:r>
            <a:r>
              <a:rPr lang="sv-SE" b="0" dirty="0">
                <a:solidFill>
                  <a:schemeClr val="tx1"/>
                </a:solidFill>
              </a:rPr>
              <a:t> </a:t>
            </a:r>
            <a:r>
              <a:rPr lang="sv-SE" b="0" dirty="0" err="1">
                <a:solidFill>
                  <a:schemeClr val="tx1"/>
                </a:solidFill>
              </a:rPr>
              <a:t>Karhakkamaa</a:t>
            </a:r>
            <a:r>
              <a:rPr lang="sv-SE" b="0" dirty="0">
                <a:solidFill>
                  <a:schemeClr val="tx1"/>
                </a:solidFill>
              </a:rPr>
              <a:t> Tuuli Ky</a:t>
            </a:r>
            <a:endParaRPr lang="sv-SE" b="0" dirty="0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sv-SE" b="0" dirty="0">
                <a:solidFill>
                  <a:schemeClr val="tx1"/>
                </a:solidFill>
              </a:rPr>
              <a:t>Övertorneå kommun</a:t>
            </a:r>
            <a:endParaRPr lang="sv-SE" b="0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sv-SE" b="0" dirty="0">
                <a:solidFill>
                  <a:schemeClr val="tx1"/>
                </a:solidFill>
              </a:rPr>
              <a:t>Torneå Stad</a:t>
            </a:r>
            <a:endParaRPr lang="sv-SE" b="0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sv-SE" b="0" dirty="0">
                <a:solidFill>
                  <a:schemeClr val="tx1"/>
                </a:solidFill>
              </a:rPr>
              <a:t>FCG </a:t>
            </a:r>
            <a:r>
              <a:rPr lang="sv-SE" b="0" dirty="0" err="1">
                <a:solidFill>
                  <a:schemeClr val="tx1"/>
                </a:solidFill>
              </a:rPr>
              <a:t>Finnish</a:t>
            </a:r>
            <a:r>
              <a:rPr lang="sv-SE" b="0" dirty="0">
                <a:solidFill>
                  <a:schemeClr val="tx1"/>
                </a:solidFill>
              </a:rPr>
              <a:t> Consulting Group Oy</a:t>
            </a:r>
            <a:endParaRPr lang="sv-SE" b="0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sv-SE" b="0" err="1">
                <a:solidFill>
                  <a:schemeClr val="tx1"/>
                </a:solidFill>
              </a:rPr>
              <a:t>Syke</a:t>
            </a:r>
            <a:endParaRPr lang="sv-SE" b="0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sv-SE" b="0" dirty="0">
                <a:solidFill>
                  <a:schemeClr val="tx1"/>
                </a:solidFill>
              </a:rPr>
              <a:t>Naturvårdsverket</a:t>
            </a:r>
            <a:endParaRPr lang="sv-SE" b="0">
              <a:solidFill>
                <a:schemeClr val="tx1"/>
              </a:solidFill>
              <a:cs typeface="Arial"/>
            </a:endParaRP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F4B6ECDC-4D63-3AC9-0187-E3763D424E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296" y="1703882"/>
            <a:ext cx="6005278" cy="4686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427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>
            <a:extLst>
              <a:ext uri="{FF2B5EF4-FFF2-40B4-BE49-F238E27FC236}">
                <a16:creationId xmlns:a16="http://schemas.microsoft.com/office/drawing/2014/main" id="{CEBB3064-F2B0-979E-94EA-60F32D3729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27016"/>
            <a:ext cx="12192000" cy="2403967"/>
          </a:xfrm>
          <a:prstGeom prst="rect">
            <a:avLst/>
          </a:prstGeom>
        </p:spPr>
      </p:pic>
      <p:sp>
        <p:nvSpPr>
          <p:cNvPr id="3" name="textruta 2">
            <a:extLst>
              <a:ext uri="{FF2B5EF4-FFF2-40B4-BE49-F238E27FC236}">
                <a16:creationId xmlns:a16="http://schemas.microsoft.com/office/drawing/2014/main" id="{E8717161-45FC-14A3-0252-7C6DEB2E4B9C}"/>
              </a:ext>
            </a:extLst>
          </p:cNvPr>
          <p:cNvSpPr txBox="1"/>
          <p:nvPr/>
        </p:nvSpPr>
        <p:spPr>
          <a:xfrm>
            <a:off x="-28575" y="1819275"/>
            <a:ext cx="8498681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de-DE" sz="2000" b="1"/>
              <a:t>Fotopunkt </a:t>
            </a:r>
            <a:r>
              <a:rPr lang="de-DE" sz="2000" b="1" err="1"/>
              <a:t>väg</a:t>
            </a:r>
            <a:r>
              <a:rPr lang="de-DE" sz="2000" b="1"/>
              <a:t> 99, </a:t>
            </a:r>
            <a:r>
              <a:rPr lang="de-DE" sz="2000" b="1" err="1"/>
              <a:t>Risudden</a:t>
            </a:r>
            <a:r>
              <a:rPr lang="de-DE" sz="2000" b="1"/>
              <a:t> (</a:t>
            </a:r>
            <a:r>
              <a:rPr lang="de-DE" sz="2000" b="1" err="1"/>
              <a:t>Sverige</a:t>
            </a:r>
            <a:r>
              <a:rPr lang="de-DE" sz="2000" b="1"/>
              <a:t>) 8.3 km</a:t>
            </a:r>
            <a:endParaRPr lang="sv-SE" sz="20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24997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921"/>
    </mc:Choice>
    <mc:Fallback xmlns="">
      <p:transition spd="slow" advTm="10921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>
            <a:extLst>
              <a:ext uri="{FF2B5EF4-FFF2-40B4-BE49-F238E27FC236}">
                <a16:creationId xmlns:a16="http://schemas.microsoft.com/office/drawing/2014/main" id="{6F974CEE-29D5-C13F-6BD0-73D82C0C0F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61303"/>
            <a:ext cx="12192000" cy="1735394"/>
          </a:xfrm>
          <a:prstGeom prst="rect">
            <a:avLst/>
          </a:prstGeom>
        </p:spPr>
      </p:pic>
      <p:sp>
        <p:nvSpPr>
          <p:cNvPr id="3" name="textruta 2">
            <a:extLst>
              <a:ext uri="{FF2B5EF4-FFF2-40B4-BE49-F238E27FC236}">
                <a16:creationId xmlns:a16="http://schemas.microsoft.com/office/drawing/2014/main" id="{E0A28773-F3AF-20C5-36C2-0DB6BB024CC9}"/>
              </a:ext>
            </a:extLst>
          </p:cNvPr>
          <p:cNvSpPr txBox="1"/>
          <p:nvPr/>
        </p:nvSpPr>
        <p:spPr>
          <a:xfrm>
            <a:off x="-38100" y="2181225"/>
            <a:ext cx="8498681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de-DE" sz="2000" b="1"/>
              <a:t>Fotopunkt </a:t>
            </a:r>
            <a:r>
              <a:rPr lang="de-DE" sz="2000" b="1" err="1"/>
              <a:t>Aavasaksa</a:t>
            </a:r>
            <a:r>
              <a:rPr lang="de-DE" sz="2000" b="1"/>
              <a:t> </a:t>
            </a:r>
            <a:r>
              <a:rPr lang="de-DE" sz="2000" b="1" err="1"/>
              <a:t>skidbacke</a:t>
            </a:r>
            <a:r>
              <a:rPr lang="de-DE" sz="2000" b="1"/>
              <a:t> (</a:t>
            </a:r>
            <a:r>
              <a:rPr lang="de-DE" sz="2000" b="1" err="1"/>
              <a:t>Finland</a:t>
            </a:r>
            <a:r>
              <a:rPr lang="de-DE" sz="2000" b="1"/>
              <a:t>) 23 km</a:t>
            </a:r>
            <a:endParaRPr lang="sv-SE" sz="2000" b="1"/>
          </a:p>
        </p:txBody>
      </p:sp>
    </p:spTree>
    <p:extLst>
      <p:ext uri="{BB962C8B-B14F-4D97-AF65-F5344CB8AC3E}">
        <p14:creationId xmlns:p14="http://schemas.microsoft.com/office/powerpoint/2010/main" val="176568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731"/>
    </mc:Choice>
    <mc:Fallback xmlns="">
      <p:transition spd="slow" advTm="14731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745A0E7-7394-B02F-045D-E862C9501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Markeringar för hinderbelysning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E8F4FF1-24F5-01AA-5D6A-481D091D33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3415" y="1273635"/>
            <a:ext cx="3696342" cy="2364132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b="0">
                <a:solidFill>
                  <a:srgbClr val="3C4043"/>
                </a:solidFill>
                <a:latin typeface="Roboto"/>
                <a:ea typeface="Roboto"/>
                <a:cs typeface="Roboto"/>
              </a:rPr>
              <a:t>Vindkraftverken i vindkraftsparkens yttre gräns förses med </a:t>
            </a:r>
            <a:r>
              <a:rPr lang="sv-SE" err="1">
                <a:solidFill>
                  <a:srgbClr val="3C4043"/>
                </a:solidFill>
                <a:latin typeface="Roboto"/>
                <a:ea typeface="Roboto"/>
                <a:cs typeface="Roboto"/>
              </a:rPr>
              <a:t>högintenivt</a:t>
            </a:r>
            <a:r>
              <a:rPr lang="sv-SE">
                <a:solidFill>
                  <a:srgbClr val="3C4043"/>
                </a:solidFill>
                <a:latin typeface="Roboto"/>
                <a:ea typeface="Roboto"/>
                <a:cs typeface="Roboto"/>
              </a:rPr>
              <a:t> vitt blinkande ljus</a:t>
            </a:r>
            <a:r>
              <a:rPr lang="sv-SE" b="0">
                <a:solidFill>
                  <a:srgbClr val="3C4043"/>
                </a:solidFill>
                <a:latin typeface="Roboto"/>
                <a:ea typeface="Roboto"/>
                <a:cs typeface="Roboto"/>
              </a:rPr>
              <a:t>, dessa utgör en säkerhetszon för luftfart. </a:t>
            </a:r>
            <a:endParaRPr lang="sv-SE" b="0">
              <a:solidFill>
                <a:srgbClr val="3C4043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b="0">
                <a:solidFill>
                  <a:srgbClr val="3C4043"/>
                </a:solidFill>
                <a:latin typeface="Roboto"/>
                <a:ea typeface="Roboto"/>
                <a:cs typeface="Roboto"/>
              </a:rPr>
              <a:t>Dock endast dagtid. </a:t>
            </a:r>
            <a:endParaRPr lang="sv-SE" b="0" i="0">
              <a:solidFill>
                <a:srgbClr val="3C4043"/>
              </a:solidFill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b="0">
                <a:solidFill>
                  <a:srgbClr val="3C4043"/>
                </a:solidFill>
                <a:latin typeface="Roboto"/>
                <a:ea typeface="Roboto"/>
                <a:cs typeface="Roboto"/>
              </a:rPr>
              <a:t>Resten förses med</a:t>
            </a:r>
            <a:r>
              <a:rPr lang="sv-SE">
                <a:solidFill>
                  <a:srgbClr val="3C4043"/>
                </a:solidFill>
                <a:latin typeface="Roboto"/>
                <a:ea typeface="Roboto"/>
                <a:cs typeface="Roboto"/>
              </a:rPr>
              <a:t> lågintensivt fast rött ljus</a:t>
            </a:r>
            <a:r>
              <a:rPr lang="sv-SE" b="0">
                <a:solidFill>
                  <a:srgbClr val="3C4043"/>
                </a:solidFill>
                <a:latin typeface="Roboto"/>
                <a:ea typeface="Roboto"/>
                <a:cs typeface="Roboto"/>
              </a:rPr>
              <a:t>.</a:t>
            </a:r>
            <a:endParaRPr lang="sv-SE">
              <a:latin typeface="Roboto"/>
              <a:ea typeface="Roboto"/>
              <a:cs typeface="Roboto"/>
            </a:endParaRP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47ACEF4-8A85-6848-DA51-EA87ACAA9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0A39-527A-45CF-A911-B921024B92E6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93133669-BC2A-2407-2234-DDD806F27B2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3518" y="5445303"/>
            <a:ext cx="6127172" cy="52992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sv-SE" i="1">
                <a:solidFill>
                  <a:schemeClr val="tx1"/>
                </a:solidFill>
              </a:rPr>
              <a:t>Källa: </a:t>
            </a:r>
            <a:r>
              <a:rPr lang="sv-SE" i="1" err="1">
                <a:solidFill>
                  <a:schemeClr val="tx1"/>
                </a:solidFill>
              </a:rPr>
              <a:t>Traficom</a:t>
            </a:r>
            <a:r>
              <a:rPr lang="sv-SE" i="1">
                <a:solidFill>
                  <a:schemeClr val="tx1"/>
                </a:solidFill>
              </a:rPr>
              <a:t>, Transport- och kommunikationsverket</a:t>
            </a:r>
          </a:p>
        </p:txBody>
      </p:sp>
      <p:sp>
        <p:nvSpPr>
          <p:cNvPr id="7" name="Platshållare för sidfot 6">
            <a:extLst>
              <a:ext uri="{FF2B5EF4-FFF2-40B4-BE49-F238E27FC236}">
                <a16:creationId xmlns:a16="http://schemas.microsoft.com/office/drawing/2014/main" id="{FA89F011-B7CC-A6B4-D047-6E59304D46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8DD50FB-E308-242F-5C2A-455B050AC8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904" y="1185454"/>
            <a:ext cx="5732430" cy="4222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4313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10">
            <a:extLst>
              <a:ext uri="{FF2B5EF4-FFF2-40B4-BE49-F238E27FC236}">
                <a16:creationId xmlns:a16="http://schemas.microsoft.com/office/drawing/2014/main" id="{7969EA30-766A-49E5-A525-DF9474169CF7}"/>
              </a:ext>
            </a:extLst>
          </p:cNvPr>
          <p:cNvPicPr>
            <a:picLocks noGrp="1" noChangeAspect="1"/>
          </p:cNvPicPr>
          <p:nvPr>
            <p:ph type="pic" sz="quarter" idx="10"/>
            <p:custDataLst>
              <p:tags r:id="rId1"/>
            </p:custDataLst>
          </p:nvPr>
        </p:nvPicPr>
        <p:blipFill>
          <a:blip r:embed="rId4"/>
          <a:srcRect l="40113" r="40113"/>
          <a:stretch>
            <a:fillRect/>
          </a:stretch>
        </p:blipFill>
        <p:spPr bwMode="gray">
          <a:xfrm>
            <a:off x="479425" y="0"/>
            <a:ext cx="3240088" cy="6858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EC34C4-4393-4CE1-9EE5-6E9B9D5BF7B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0FEB20-7380-4D27-AF92-EDCE0F808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CBEE844-16E2-4CDB-9D73-314FFFDC3E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v-SE"/>
              <a:t>5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908058-4AE8-4F6F-8C5D-C324F2598F3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itel 12">
            <a:extLst>
              <a:ext uri="{FF2B5EF4-FFF2-40B4-BE49-F238E27FC236}">
                <a16:creationId xmlns:a16="http://schemas.microsoft.com/office/drawing/2014/main" id="{6089B662-5E93-4987-80DB-AC06B939521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4943871" y="2765067"/>
            <a:ext cx="6254959" cy="1944000"/>
          </a:xfrm>
        </p:spPr>
        <p:txBody>
          <a:bodyPr/>
          <a:lstStyle/>
          <a:p>
            <a:r>
              <a:rPr lang="de-DE"/>
              <a:t> </a:t>
            </a:r>
            <a:r>
              <a:rPr lang="sv-SE" sz="5400">
                <a:solidFill>
                  <a:srgbClr val="78B90F"/>
                </a:solidFill>
              </a:rPr>
              <a:t>Närliggande projekt</a:t>
            </a:r>
            <a:br>
              <a:rPr lang="de-DE"/>
            </a:br>
            <a:endParaRPr lang="de-D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59500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3CA551-0791-1CEB-E1E8-3D21B8098AC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D35B66-BE76-88DE-5198-76900ECB1AF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FC5B37-F310-4DD5-BACA-0AF7C21779D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" name="Picture Placeholder 10" descr="A windmills in a snowy landscape&#10;&#10;Description automatically generated">
            <a:extLst>
              <a:ext uri="{FF2B5EF4-FFF2-40B4-BE49-F238E27FC236}">
                <a16:creationId xmlns:a16="http://schemas.microsoft.com/office/drawing/2014/main" id="{BD65C4CD-BF01-D35F-BE58-79C19049737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l="39262" r="39262"/>
          <a:stretch/>
        </p:blipFill>
        <p:spPr>
          <a:xfrm>
            <a:off x="1203275" y="0"/>
            <a:ext cx="3240000" cy="6858000"/>
          </a:xfrm>
        </p:spPr>
      </p:pic>
      <p:sp>
        <p:nvSpPr>
          <p:cNvPr id="12" name="Rubrik 1">
            <a:extLst>
              <a:ext uri="{FF2B5EF4-FFF2-40B4-BE49-F238E27FC236}">
                <a16:creationId xmlns:a16="http://schemas.microsoft.com/office/drawing/2014/main" id="{E6878A99-BC76-264E-2A18-12801E24A3CD}"/>
              </a:ext>
            </a:extLst>
          </p:cNvPr>
          <p:cNvSpPr>
            <a:spLocks noGrp="1"/>
          </p:cNvSpPr>
          <p:nvPr/>
        </p:nvSpPr>
        <p:spPr bwMode="gray">
          <a:xfrm>
            <a:off x="4798392" y="403771"/>
            <a:ext cx="11376645" cy="64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/>
              <a:t>Närliggande projekt</a:t>
            </a:r>
          </a:p>
        </p:txBody>
      </p:sp>
      <p:sp>
        <p:nvSpPr>
          <p:cNvPr id="14" name="Platshållare för text 6">
            <a:extLst>
              <a:ext uri="{FF2B5EF4-FFF2-40B4-BE49-F238E27FC236}">
                <a16:creationId xmlns:a16="http://schemas.microsoft.com/office/drawing/2014/main" id="{E1B3C175-CDF9-80B9-1BD3-79EAC594A014}"/>
              </a:ext>
            </a:extLst>
          </p:cNvPr>
          <p:cNvSpPr txBox="1">
            <a:spLocks/>
          </p:cNvSpPr>
          <p:nvPr/>
        </p:nvSpPr>
        <p:spPr>
          <a:xfrm>
            <a:off x="4684091" y="1319203"/>
            <a:ext cx="4862492" cy="4824000"/>
          </a:xfrm>
          <a:prstGeom prst="roundRect">
            <a:avLst>
              <a:gd name="adj" fmla="val 4643"/>
            </a:avLst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n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45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23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b="0">
                <a:solidFill>
                  <a:schemeClr val="tx1"/>
                </a:solidFill>
              </a:rPr>
              <a:t>Under 50 kilometer från de planerade vindkraftverken finns fyra vindkraftsparker, totalt 31 vindkraftverk. </a:t>
            </a:r>
            <a:endParaRPr lang="en-US" b="0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Wingdings" panose="020B0604020202020204" pitchFamily="34" charset="0"/>
              <a:buChar char="§"/>
            </a:pPr>
            <a:endParaRPr lang="sv-SE" b="0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b="0">
                <a:solidFill>
                  <a:schemeClr val="tx1"/>
                </a:solidFill>
              </a:rPr>
              <a:t>Den närmaste vindkraftsparken i drift är </a:t>
            </a:r>
            <a:r>
              <a:rPr lang="sv-SE" b="0" err="1">
                <a:solidFill>
                  <a:schemeClr val="tx1"/>
                </a:solidFill>
              </a:rPr>
              <a:t>Kitkiäisvaara</a:t>
            </a:r>
            <a:r>
              <a:rPr lang="sv-SE" b="0">
                <a:solidFill>
                  <a:schemeClr val="tx1"/>
                </a:solidFill>
              </a:rPr>
              <a:t>, som gränsar till </a:t>
            </a:r>
            <a:r>
              <a:rPr lang="sv-SE" b="0" err="1">
                <a:solidFill>
                  <a:schemeClr val="tx1"/>
                </a:solidFill>
              </a:rPr>
              <a:t>Karhakkamaas</a:t>
            </a:r>
            <a:r>
              <a:rPr lang="sv-SE" b="0">
                <a:solidFill>
                  <a:schemeClr val="tx1"/>
                </a:solidFill>
              </a:rPr>
              <a:t> projektområde i söder.</a:t>
            </a:r>
            <a:endParaRPr lang="sv-SE" b="0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Wingdings" panose="020B0604020202020204" pitchFamily="34" charset="0"/>
              <a:buChar char="§"/>
            </a:pPr>
            <a:endParaRPr lang="sv-SE" b="0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b="0" err="1">
                <a:solidFill>
                  <a:schemeClr val="tx1"/>
                </a:solidFill>
              </a:rPr>
              <a:t>Kitkiäisvaara</a:t>
            </a:r>
            <a:r>
              <a:rPr lang="sv-SE" b="0">
                <a:solidFill>
                  <a:schemeClr val="tx1"/>
                </a:solidFill>
              </a:rPr>
              <a:t> vindkraftspark består av 8 vindkraftverk. Navhöjden 140 meter, totalhöjd 206 meter.</a:t>
            </a:r>
            <a:endParaRPr lang="sv-SE" b="0">
              <a:solidFill>
                <a:schemeClr val="tx1"/>
              </a:solidFill>
              <a:cs typeface="Arial"/>
            </a:endParaRPr>
          </a:p>
          <a:p>
            <a:pPr marL="457200" indent="-457200">
              <a:buFont typeface="Wingdings" panose="020B0604020202020204" pitchFamily="34" charset="0"/>
              <a:buChar char="§"/>
            </a:pPr>
            <a:endParaRPr lang="sv-SE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1167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10">
            <a:extLst>
              <a:ext uri="{FF2B5EF4-FFF2-40B4-BE49-F238E27FC236}">
                <a16:creationId xmlns:a16="http://schemas.microsoft.com/office/drawing/2014/main" id="{7969EA30-766A-49E5-A525-DF9474169CF7}"/>
              </a:ext>
            </a:extLst>
          </p:cNvPr>
          <p:cNvPicPr>
            <a:picLocks noGrp="1" noChangeAspect="1"/>
          </p:cNvPicPr>
          <p:nvPr>
            <p:ph type="pic" sz="quarter" idx="10"/>
            <p:custDataLst>
              <p:tags r:id="rId1"/>
            </p:custDataLst>
          </p:nvPr>
        </p:nvPicPr>
        <p:blipFill>
          <a:blip r:embed="rId4"/>
          <a:srcRect l="40113" r="40113"/>
          <a:stretch>
            <a:fillRect/>
          </a:stretch>
        </p:blipFill>
        <p:spPr bwMode="gray">
          <a:xfrm>
            <a:off x="479425" y="0"/>
            <a:ext cx="3240088" cy="6858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EC34C4-4393-4CE1-9EE5-6E9B9D5BF7B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0FEB20-7380-4D27-AF92-EDCE0F808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CBEE844-16E2-4CDB-9D73-314FFFDC3E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v-SE"/>
              <a:t>6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908058-4AE8-4F6F-8C5D-C324F2598F3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itel 12">
            <a:extLst>
              <a:ext uri="{FF2B5EF4-FFF2-40B4-BE49-F238E27FC236}">
                <a16:creationId xmlns:a16="http://schemas.microsoft.com/office/drawing/2014/main" id="{6089B662-5E93-4987-80DB-AC06B939521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4943871" y="2765067"/>
            <a:ext cx="6254959" cy="1944000"/>
          </a:xfrm>
        </p:spPr>
        <p:txBody>
          <a:bodyPr/>
          <a:lstStyle/>
          <a:p>
            <a:r>
              <a:rPr lang="de-DE" sz="5400" err="1">
                <a:solidFill>
                  <a:srgbClr val="78B90F"/>
                </a:solidFill>
              </a:rPr>
              <a:t>Elanslutningen</a:t>
            </a:r>
            <a:br>
              <a:rPr lang="de-DE"/>
            </a:br>
            <a:endParaRPr lang="de-D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57345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B42F606-19FE-1748-EE0E-F48459C88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7" y="692696"/>
            <a:ext cx="3301604" cy="992266"/>
          </a:xfrm>
        </p:spPr>
        <p:txBody>
          <a:bodyPr/>
          <a:lstStyle/>
          <a:p>
            <a:r>
              <a:rPr lang="sv-SE"/>
              <a:t>400 kV kraftledning</a:t>
            </a:r>
          </a:p>
        </p:txBody>
      </p:sp>
      <p:pic>
        <p:nvPicPr>
          <p:cNvPr id="7" name="Platshållare för innehåll 6">
            <a:extLst>
              <a:ext uri="{FF2B5EF4-FFF2-40B4-BE49-F238E27FC236}">
                <a16:creationId xmlns:a16="http://schemas.microsoft.com/office/drawing/2014/main" id="{98428FA9-898D-96CC-2DD9-28A94D5E2CD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966785" y="984808"/>
            <a:ext cx="7844533" cy="4422694"/>
          </a:xfrm>
        </p:spPr>
      </p:pic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155CE594-A9F2-0C3E-92FA-76AA8C8CC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0A39-527A-45CF-A911-B921024B92E6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182D4F9-1AF8-D149-1139-2143F61B5E3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  <p:sp>
        <p:nvSpPr>
          <p:cNvPr id="8" name="Platshållare för innehåll 9">
            <a:extLst>
              <a:ext uri="{FF2B5EF4-FFF2-40B4-BE49-F238E27FC236}">
                <a16:creationId xmlns:a16="http://schemas.microsoft.com/office/drawing/2014/main" id="{5FCABCE9-AFFA-17B2-2696-34251D8E261B}"/>
              </a:ext>
            </a:extLst>
          </p:cNvPr>
          <p:cNvSpPr txBox="1">
            <a:spLocks/>
          </p:cNvSpPr>
          <p:nvPr/>
        </p:nvSpPr>
        <p:spPr bwMode="gray">
          <a:xfrm>
            <a:off x="596439" y="4337204"/>
            <a:ext cx="4421664" cy="251999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sv-SE">
                <a:solidFill>
                  <a:srgbClr val="3C4043"/>
                </a:solidFill>
                <a:latin typeface="Roboto" panose="02000000000000000000" pitchFamily="2" charset="0"/>
              </a:rPr>
              <a:t>. </a:t>
            </a:r>
            <a:endParaRPr lang="sv-SE"/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311C007F-A77A-2420-2606-713E1117E520}"/>
              </a:ext>
            </a:extLst>
          </p:cNvPr>
          <p:cNvSpPr txBox="1"/>
          <p:nvPr/>
        </p:nvSpPr>
        <p:spPr>
          <a:xfrm>
            <a:off x="443375" y="2108520"/>
            <a:ext cx="2989442" cy="156966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Wingdings"/>
              <a:buChar char="§"/>
            </a:pPr>
            <a:r>
              <a:rPr lang="sv-SE" sz="1600"/>
              <a:t>En 400 kV kraftledning planeras till transformatorstationen i Petäjäskoski.</a:t>
            </a:r>
            <a:endParaRPr lang="en-US">
              <a:cs typeface="Arial"/>
            </a:endParaRPr>
          </a:p>
          <a:p>
            <a:pPr marL="285750" indent="-285750">
              <a:buFont typeface="Wingdings"/>
              <a:buChar char="§"/>
            </a:pPr>
            <a:endParaRPr lang="sv-SE" sz="1600">
              <a:cs typeface="Arial"/>
            </a:endParaRPr>
          </a:p>
          <a:p>
            <a:pPr marL="285750" indent="-285750">
              <a:buFont typeface="Wingdings"/>
              <a:buChar char="§"/>
            </a:pPr>
            <a:r>
              <a:rPr lang="sv-SE" sz="1600">
                <a:cs typeface="Arial"/>
              </a:rPr>
              <a:t>52 km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CEA8F3D3-35FC-ABC9-A551-8E94F14ADDAA}"/>
              </a:ext>
            </a:extLst>
          </p:cNvPr>
          <p:cNvSpPr txBox="1"/>
          <p:nvPr/>
        </p:nvSpPr>
        <p:spPr>
          <a:xfrm>
            <a:off x="3966785" y="5597199"/>
            <a:ext cx="7628776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sv-SE" sz="1600" i="1"/>
              <a:t>Utdrag ur </a:t>
            </a:r>
            <a:r>
              <a:rPr lang="sv-SE" sz="1600" i="1" err="1"/>
              <a:t>Fingrid</a:t>
            </a:r>
            <a:r>
              <a:rPr lang="sv-SE" sz="1600" i="1"/>
              <a:t> </a:t>
            </a:r>
            <a:r>
              <a:rPr lang="sv-SE" sz="1600" i="1" err="1"/>
              <a:t>Oyj:s</a:t>
            </a:r>
            <a:r>
              <a:rPr lang="sv-SE" sz="1600" i="1"/>
              <a:t> Utvecklingsplan för stamnätet 2024-2033, sydvästra Lappland</a:t>
            </a:r>
          </a:p>
        </p:txBody>
      </p:sp>
    </p:spTree>
    <p:extLst>
      <p:ext uri="{BB962C8B-B14F-4D97-AF65-F5344CB8AC3E}">
        <p14:creationId xmlns:p14="http://schemas.microsoft.com/office/powerpoint/2010/main" val="2962058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9C435F8-ABF0-46A6-A0D5-80942E904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9648" y="2260055"/>
            <a:ext cx="4506267" cy="1671582"/>
          </a:xfrm>
        </p:spPr>
        <p:txBody>
          <a:bodyPr/>
          <a:lstStyle/>
          <a:p>
            <a:r>
              <a:rPr lang="sv-SE"/>
              <a:t>Tack för uppmärksamheten!</a:t>
            </a:r>
            <a:endParaRPr lang="sv-SE">
              <a:cs typeface="Arial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D3570D2-1CB6-4DF9-8BF0-60C4ACCAE86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E89CBB-8A04-1AB0-4A8B-5828495F6A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27416" y="5259429"/>
            <a:ext cx="6154395" cy="1440000"/>
          </a:xfrm>
        </p:spPr>
        <p:txBody>
          <a:bodyPr/>
          <a:lstStyle/>
          <a:p>
            <a:pPr algn="ctr"/>
            <a:r>
              <a:rPr lang="sv-SE" sz="2400" b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S: Synpunkter lämnas skriftligt till </a:t>
            </a:r>
          </a:p>
          <a:p>
            <a:pPr algn="ctr"/>
            <a:r>
              <a:rPr lang="sv-SE" sz="2400" b="1" u="sng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gistrator@naturvardsverket.se</a:t>
            </a:r>
            <a:r>
              <a:rPr lang="sv-SE" sz="2400" u="sng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!</a:t>
            </a:r>
            <a:endParaRPr lang="sv-SE" sz="240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093011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10">
            <a:extLst>
              <a:ext uri="{FF2B5EF4-FFF2-40B4-BE49-F238E27FC236}">
                <a16:creationId xmlns:a16="http://schemas.microsoft.com/office/drawing/2014/main" id="{7969EA30-766A-49E5-A525-DF9474169CF7}"/>
              </a:ext>
            </a:extLst>
          </p:cNvPr>
          <p:cNvPicPr>
            <a:picLocks noGrp="1" noChangeAspect="1"/>
          </p:cNvPicPr>
          <p:nvPr>
            <p:ph type="pic" sz="quarter" idx="10"/>
            <p:custDataLst>
              <p:tags r:id="rId1"/>
            </p:custDataLst>
          </p:nvPr>
        </p:nvPicPr>
        <p:blipFill>
          <a:blip r:embed="rId11"/>
          <a:srcRect l="40113" r="40113"/>
          <a:stretch>
            <a:fillRect/>
          </a:stretch>
        </p:blipFill>
        <p:spPr bwMode="gray">
          <a:xfrm>
            <a:off x="479425" y="0"/>
            <a:ext cx="3240088" cy="6858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EC34C4-4393-4CE1-9EE5-6E9B9D5BF7B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0FEB20-7380-4D27-AF92-EDCE0F808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CBEE844-16E2-4CDB-9D73-314FFFDC3E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13036" y="2217356"/>
            <a:ext cx="360000" cy="360000"/>
          </a:xfrm>
        </p:spPr>
        <p:txBody>
          <a:bodyPr/>
          <a:lstStyle/>
          <a:p>
            <a:r>
              <a:rPr lang="en-US">
                <a:cs typeface="Arial"/>
              </a:rPr>
              <a:t>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908058-4AE8-4F6F-8C5D-C324F2598F3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itel 12">
            <a:extLst>
              <a:ext uri="{FF2B5EF4-FFF2-40B4-BE49-F238E27FC236}">
                <a16:creationId xmlns:a16="http://schemas.microsoft.com/office/drawing/2014/main" id="{6089B662-5E93-4987-80DB-AC06B939521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4281065" y="740368"/>
            <a:ext cx="5616000" cy="1288604"/>
          </a:xfrm>
        </p:spPr>
        <p:txBody>
          <a:bodyPr/>
          <a:lstStyle/>
          <a:p>
            <a:br>
              <a:rPr lang="de-DE"/>
            </a:br>
            <a:br>
              <a:rPr lang="de-DE"/>
            </a:br>
            <a:endParaRPr lang="de-DE">
              <a:cs typeface="Arial"/>
            </a:endParaRPr>
          </a:p>
        </p:txBody>
      </p:sp>
      <p:sp>
        <p:nvSpPr>
          <p:cNvPr id="5" name="Titel 12">
            <a:extLst>
              <a:ext uri="{FF2B5EF4-FFF2-40B4-BE49-F238E27FC236}">
                <a16:creationId xmlns:a16="http://schemas.microsoft.com/office/drawing/2014/main" id="{0C2A1D4D-4565-ED38-8601-11E454C37D2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749546" y="2397356"/>
            <a:ext cx="5616000" cy="10240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 </a:t>
            </a:r>
            <a:br>
              <a:rPr lang="de-DE"/>
            </a:br>
            <a:r>
              <a:rPr lang="de-DE" sz="2400" err="1"/>
              <a:t>Projektområdet</a:t>
            </a:r>
            <a:br>
              <a:rPr lang="de-DE"/>
            </a:br>
            <a:endParaRPr lang="de-DE">
              <a:cs typeface="Arial"/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D3DC938-9BC8-B32B-D320-E78CB59C566A}"/>
              </a:ext>
            </a:extLst>
          </p:cNvPr>
          <p:cNvSpPr txBox="1">
            <a:spLocks/>
          </p:cNvSpPr>
          <p:nvPr/>
        </p:nvSpPr>
        <p:spPr bwMode="gray">
          <a:xfrm>
            <a:off x="4313036" y="2970922"/>
            <a:ext cx="360000" cy="360000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SE"/>
              <a:t>2</a:t>
            </a:r>
            <a:endParaRPr lang="en-GB"/>
          </a:p>
        </p:txBody>
      </p:sp>
      <p:sp>
        <p:nvSpPr>
          <p:cNvPr id="12" name="Titel 12">
            <a:extLst>
              <a:ext uri="{FF2B5EF4-FFF2-40B4-BE49-F238E27FC236}">
                <a16:creationId xmlns:a16="http://schemas.microsoft.com/office/drawing/2014/main" id="{C69D8F43-C43D-D4C3-97C2-750AFCE516E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1826454" y="3267044"/>
            <a:ext cx="6321786" cy="9961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 </a:t>
            </a:r>
            <a:br>
              <a:rPr lang="de-DE"/>
            </a:br>
            <a:br>
              <a:rPr lang="de-DE"/>
            </a:br>
            <a:endParaRPr lang="de-DE">
              <a:cs typeface="Arial"/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E7465B80-965F-4693-5B50-7A3FA1ECCB1C}"/>
              </a:ext>
            </a:extLst>
          </p:cNvPr>
          <p:cNvSpPr txBox="1">
            <a:spLocks/>
          </p:cNvSpPr>
          <p:nvPr/>
        </p:nvSpPr>
        <p:spPr bwMode="gray">
          <a:xfrm>
            <a:off x="4313036" y="3707690"/>
            <a:ext cx="360000" cy="360000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SE"/>
              <a:t>3</a:t>
            </a:r>
            <a:endParaRPr lang="en-GB"/>
          </a:p>
        </p:txBody>
      </p:sp>
      <p:sp>
        <p:nvSpPr>
          <p:cNvPr id="15" name="Titel 12">
            <a:extLst>
              <a:ext uri="{FF2B5EF4-FFF2-40B4-BE49-F238E27FC236}">
                <a16:creationId xmlns:a16="http://schemas.microsoft.com/office/drawing/2014/main" id="{B75EB29D-B1FD-0659-51B4-F02E72031A6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749546" y="3538654"/>
            <a:ext cx="6321786" cy="11448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err="1"/>
              <a:t>Miljökonsekvensbeskrivningen</a:t>
            </a:r>
            <a:r>
              <a:rPr lang="de-DE"/>
              <a:t> </a:t>
            </a:r>
            <a:br>
              <a:rPr lang="de-DE"/>
            </a:br>
            <a:br>
              <a:rPr lang="de-DE"/>
            </a:br>
            <a:endParaRPr lang="de-DE">
              <a:cs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DAC4400-ECC0-F7EF-450E-FEF92271DAD9}"/>
              </a:ext>
            </a:extLst>
          </p:cNvPr>
          <p:cNvSpPr txBox="1"/>
          <p:nvPr/>
        </p:nvSpPr>
        <p:spPr>
          <a:xfrm>
            <a:off x="4377676" y="2127780"/>
            <a:ext cx="6740576" cy="51473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66700" indent="-266700">
              <a:buClr>
                <a:schemeClr val="accent1"/>
              </a:buClr>
              <a:buFont typeface="Wingdings" panose="05000000000000000000" pitchFamily="2" charset="2"/>
            </a:pPr>
            <a:r>
              <a:rPr lang="en-US" sz="2400">
                <a:latin typeface="Arial"/>
                <a:cs typeface="Arial"/>
              </a:rPr>
              <a:t>   </a:t>
            </a:r>
            <a:r>
              <a:rPr lang="en-US" sz="2400" err="1">
                <a:latin typeface="Arial"/>
                <a:cs typeface="Arial"/>
              </a:rPr>
              <a:t>Vilka</a:t>
            </a:r>
            <a:r>
              <a:rPr lang="en-US" sz="2400">
                <a:latin typeface="Arial"/>
                <a:cs typeface="Arial"/>
              </a:rPr>
              <a:t> </a:t>
            </a:r>
            <a:r>
              <a:rPr lang="en-US" sz="2400" err="1">
                <a:latin typeface="Arial"/>
                <a:cs typeface="Arial"/>
              </a:rPr>
              <a:t>är</a:t>
            </a:r>
            <a:r>
              <a:rPr lang="en-US" sz="2400">
                <a:latin typeface="Arial"/>
                <a:cs typeface="Arial"/>
              </a:rPr>
              <a:t> vi?</a:t>
            </a:r>
            <a:endParaRPr lang="en-US" sz="2400">
              <a:cs typeface="Arial"/>
            </a:endParaRPr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FE841424-64F6-3D5C-6660-5EA7909A023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55271" y="4285916"/>
            <a:ext cx="475529" cy="573074"/>
          </a:xfrm>
          <a:prstGeom prst="rect">
            <a:avLst/>
          </a:prstGeom>
        </p:spPr>
      </p:pic>
      <p:sp>
        <p:nvSpPr>
          <p:cNvPr id="8" name="Titel 12">
            <a:extLst>
              <a:ext uri="{FF2B5EF4-FFF2-40B4-BE49-F238E27FC236}">
                <a16:creationId xmlns:a16="http://schemas.microsoft.com/office/drawing/2014/main" id="{EF06AE11-B627-059D-D292-36D0A260954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730800" y="4215483"/>
            <a:ext cx="6321786" cy="11448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err="1"/>
              <a:t>Ljudberäkning</a:t>
            </a:r>
            <a:r>
              <a:rPr lang="de-DE" sz="2400"/>
              <a:t> och visuell </a:t>
            </a:r>
            <a:r>
              <a:rPr lang="de-DE" sz="2400" err="1"/>
              <a:t>påverkan</a:t>
            </a:r>
            <a:r>
              <a:rPr lang="de-DE" sz="2400"/>
              <a:t> </a:t>
            </a:r>
            <a:r>
              <a:rPr lang="de-DE"/>
              <a:t> </a:t>
            </a:r>
            <a:br>
              <a:rPr lang="de-DE"/>
            </a:br>
            <a:br>
              <a:rPr lang="de-DE"/>
            </a:br>
            <a:endParaRPr lang="de-DE">
              <a:cs typeface="Arial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03352B1-5445-6AF5-7FCE-D6177993ACA1}"/>
              </a:ext>
            </a:extLst>
          </p:cNvPr>
          <p:cNvSpPr txBox="1">
            <a:spLocks/>
          </p:cNvSpPr>
          <p:nvPr/>
        </p:nvSpPr>
        <p:spPr bwMode="gray">
          <a:xfrm>
            <a:off x="4313036" y="5000313"/>
            <a:ext cx="360000" cy="360000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/>
              <a:t>5</a:t>
            </a:r>
            <a:endParaRPr lang="en-GB"/>
          </a:p>
        </p:txBody>
      </p:sp>
      <p:sp>
        <p:nvSpPr>
          <p:cNvPr id="17" name="Titel 12">
            <a:extLst>
              <a:ext uri="{FF2B5EF4-FFF2-40B4-BE49-F238E27FC236}">
                <a16:creationId xmlns:a16="http://schemas.microsoft.com/office/drawing/2014/main" id="{3FDD0143-A9CB-A06C-56F3-FA3511EE920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749546" y="5000313"/>
            <a:ext cx="6321786" cy="11448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err="1"/>
              <a:t>Närliggande</a:t>
            </a:r>
            <a:r>
              <a:rPr lang="de-DE" sz="2400"/>
              <a:t> </a:t>
            </a:r>
            <a:r>
              <a:rPr lang="de-DE" sz="2400" err="1"/>
              <a:t>projekt</a:t>
            </a:r>
            <a:br>
              <a:rPr lang="de-DE"/>
            </a:br>
            <a:br>
              <a:rPr lang="de-DE"/>
            </a:br>
            <a:endParaRPr lang="de-DE">
              <a:cs typeface="Arial"/>
            </a:endParaRPr>
          </a:p>
        </p:txBody>
      </p:sp>
      <p:pic>
        <p:nvPicPr>
          <p:cNvPr id="18" name="Bildobjekt 17">
            <a:extLst>
              <a:ext uri="{FF2B5EF4-FFF2-40B4-BE49-F238E27FC236}">
                <a16:creationId xmlns:a16="http://schemas.microsoft.com/office/drawing/2014/main" id="{F82A0ADC-9590-9A1E-C49C-068768EE0E4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255271" y="5592704"/>
            <a:ext cx="475529" cy="573074"/>
          </a:xfrm>
          <a:prstGeom prst="rect">
            <a:avLst/>
          </a:prstGeom>
        </p:spPr>
      </p:pic>
      <p:sp>
        <p:nvSpPr>
          <p:cNvPr id="19" name="Titel 12">
            <a:extLst>
              <a:ext uri="{FF2B5EF4-FFF2-40B4-BE49-F238E27FC236}">
                <a16:creationId xmlns:a16="http://schemas.microsoft.com/office/drawing/2014/main" id="{67C0233B-71C0-2A7E-D9D4-E6775EDE997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4768292" y="5658824"/>
            <a:ext cx="6321786" cy="11448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err="1"/>
              <a:t>Elnätsanslutningen</a:t>
            </a:r>
            <a:br>
              <a:rPr lang="de-DE"/>
            </a:br>
            <a:br>
              <a:rPr lang="de-DE"/>
            </a:br>
            <a:endParaRPr lang="de-DE">
              <a:cs typeface="Arial"/>
            </a:endParaRPr>
          </a:p>
        </p:txBody>
      </p:sp>
      <p:sp>
        <p:nvSpPr>
          <p:cNvPr id="20" name="Titel 12">
            <a:extLst>
              <a:ext uri="{FF2B5EF4-FFF2-40B4-BE49-F238E27FC236}">
                <a16:creationId xmlns:a16="http://schemas.microsoft.com/office/drawing/2014/main" id="{417100D2-B751-8B7C-E510-171D95850DCF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4446240" y="692474"/>
            <a:ext cx="5616000" cy="12845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b="1" err="1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Sammanfattning</a:t>
            </a:r>
            <a:r>
              <a:rPr lang="de-DE" b="1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b="1" err="1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esentation</a:t>
            </a:r>
            <a:endParaRPr lang="de-D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8822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10">
            <a:extLst>
              <a:ext uri="{FF2B5EF4-FFF2-40B4-BE49-F238E27FC236}">
                <a16:creationId xmlns:a16="http://schemas.microsoft.com/office/drawing/2014/main" id="{7969EA30-766A-49E5-A525-DF9474169CF7}"/>
              </a:ext>
            </a:extLst>
          </p:cNvPr>
          <p:cNvPicPr>
            <a:picLocks noGrp="1" noChangeAspect="1"/>
          </p:cNvPicPr>
          <p:nvPr>
            <p:ph type="pic" sz="quarter" idx="10"/>
            <p:custDataLst>
              <p:tags r:id="rId1"/>
            </p:custDataLst>
          </p:nvPr>
        </p:nvPicPr>
        <p:blipFill>
          <a:blip r:embed="rId4"/>
          <a:srcRect l="40113" r="40113"/>
          <a:stretch>
            <a:fillRect/>
          </a:stretch>
        </p:blipFill>
        <p:spPr bwMode="gray">
          <a:xfrm>
            <a:off x="479425" y="0"/>
            <a:ext cx="3240088" cy="6858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EC34C4-4393-4CE1-9EE5-6E9B9D5BF7B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0FEB20-7380-4D27-AF92-EDCE0F808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CBEE844-16E2-4CDB-9D73-314FFFDC3E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v-SE"/>
              <a:t>1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908058-4AE8-4F6F-8C5D-C324F2598F3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itel 12">
            <a:extLst>
              <a:ext uri="{FF2B5EF4-FFF2-40B4-BE49-F238E27FC236}">
                <a16:creationId xmlns:a16="http://schemas.microsoft.com/office/drawing/2014/main" id="{6089B662-5E93-4987-80DB-AC06B939521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4835922" y="2771417"/>
            <a:ext cx="6746300" cy="1800713"/>
          </a:xfrm>
        </p:spPr>
        <p:txBody>
          <a:bodyPr/>
          <a:lstStyle/>
          <a:p>
            <a:r>
              <a:rPr lang="de-DE" sz="5400" err="1">
                <a:solidFill>
                  <a:srgbClr val="78B90F"/>
                </a:solidFill>
              </a:rPr>
              <a:t>Tornio</a:t>
            </a:r>
            <a:r>
              <a:rPr lang="de-DE" sz="5400">
                <a:solidFill>
                  <a:srgbClr val="78B90F"/>
                </a:solidFill>
              </a:rPr>
              <a:t> </a:t>
            </a:r>
            <a:r>
              <a:rPr lang="de-DE" sz="5400" err="1">
                <a:solidFill>
                  <a:srgbClr val="78B90F"/>
                </a:solidFill>
              </a:rPr>
              <a:t>Karhakkamaa</a:t>
            </a:r>
            <a:r>
              <a:rPr lang="de-DE" sz="5400">
                <a:solidFill>
                  <a:srgbClr val="78B90F"/>
                </a:solidFill>
              </a:rPr>
              <a:t> </a:t>
            </a:r>
            <a:r>
              <a:rPr lang="de-DE" sz="5400" err="1">
                <a:solidFill>
                  <a:srgbClr val="78B90F"/>
                </a:solidFill>
              </a:rPr>
              <a:t>Tuuli</a:t>
            </a:r>
            <a:r>
              <a:rPr lang="de-DE" sz="5400">
                <a:solidFill>
                  <a:srgbClr val="78B90F"/>
                </a:solidFill>
              </a:rPr>
              <a:t> Ky</a:t>
            </a:r>
            <a:br>
              <a:rPr lang="de-DE"/>
            </a:br>
            <a:br>
              <a:rPr lang="de-DE"/>
            </a:br>
            <a:endParaRPr lang="de-D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25402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7D88472-76ED-4884-8DDC-1DD4549BA622}"/>
              </a:ext>
            </a:extLst>
          </p:cNvPr>
          <p:cNvSpPr/>
          <p:nvPr/>
        </p:nvSpPr>
        <p:spPr>
          <a:xfrm>
            <a:off x="3029744" y="1759062"/>
            <a:ext cx="2892794" cy="7180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yWa </a:t>
            </a:r>
            <a:r>
              <a:rPr kumimoji="0" lang="de-DE" sz="20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.e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Nordic AB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D794BC3-7E1D-46AB-9FB0-917E10698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5876" y="378673"/>
            <a:ext cx="11376645" cy="648000"/>
          </a:xfrm>
        </p:spPr>
        <p:txBody>
          <a:bodyPr/>
          <a:lstStyle/>
          <a:p>
            <a:pPr algn="l" rtl="0" fontAlgn="base"/>
            <a:r>
              <a:rPr lang="en-US" err="1"/>
              <a:t>Projektutvecklare</a:t>
            </a:r>
            <a:endParaRPr lang="en-US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0BD79C-2CA9-40F0-B47E-F6F17959A2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68632" y="6561368"/>
            <a:ext cx="216000" cy="1800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140A39-527A-45CF-A911-B921024B92E6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Fußzeilenplatzhalter 749">
            <a:extLst>
              <a:ext uri="{FF2B5EF4-FFF2-40B4-BE49-F238E27FC236}">
                <a16:creationId xmlns:a16="http://schemas.microsoft.com/office/drawing/2014/main" id="{7E0BA3EC-5477-4FD5-89BC-5492579D5CE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>
          <a:xfrm>
            <a:off x="6095998" y="6561368"/>
            <a:ext cx="5364000" cy="1800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yWa r.e. </a:t>
            </a:r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388B4A5-21D1-4336-BC5E-E399BAB50C5D}"/>
              </a:ext>
            </a:extLst>
          </p:cNvPr>
          <p:cNvSpPr/>
          <p:nvPr/>
        </p:nvSpPr>
        <p:spPr>
          <a:xfrm>
            <a:off x="741679" y="2791733"/>
            <a:ext cx="4989583" cy="19095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b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346E80D6-FA6A-468D-9C19-E0DD9949A63B}"/>
              </a:ext>
            </a:extLst>
          </p:cNvPr>
          <p:cNvSpPr/>
          <p:nvPr/>
        </p:nvSpPr>
        <p:spPr>
          <a:xfrm>
            <a:off x="6548122" y="2048784"/>
            <a:ext cx="4956646" cy="23512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b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sv-SE" sz="16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ndat 2005</a:t>
            </a:r>
            <a:endParaRPr lang="en-US">
              <a:solidFill>
                <a:prstClr val="black"/>
              </a:solidFill>
              <a:cs typeface="Arial"/>
            </a:endParaRP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  <a:defRPr/>
            </a:pPr>
            <a:r>
              <a:rPr kumimoji="0" lang="sv-SE" sz="16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vesteringsbolag</a:t>
            </a:r>
            <a:r>
              <a:rPr lang="sv-SE" sz="1600">
                <a:solidFill>
                  <a:prstClr val="black"/>
                </a:solidFill>
                <a:latin typeface="Arial"/>
              </a:rPr>
              <a:t>, fokuserar</a:t>
            </a:r>
            <a:r>
              <a:rPr kumimoji="0" lang="sv-SE" sz="16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å investeringar i fastigheter och förnybar energi</a:t>
            </a:r>
            <a:endParaRPr lang="sv-SE" sz="16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sv-SE" sz="1600">
                <a:solidFill>
                  <a:prstClr val="black"/>
                </a:solidFill>
                <a:latin typeface="Arial"/>
              </a:rPr>
              <a:t>Långsiktiga</a:t>
            </a:r>
            <a:r>
              <a:rPr kumimoji="0" lang="sv-SE" sz="16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ch lönsamma investeringar</a:t>
            </a:r>
            <a:endParaRPr lang="sv-SE" sz="16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925B5326-EF5F-4948-927D-B1F0568FC374}"/>
              </a:ext>
            </a:extLst>
          </p:cNvPr>
          <p:cNvCxnSpPr>
            <a:cxnSpLocks/>
          </p:cNvCxnSpPr>
          <p:nvPr/>
        </p:nvCxnSpPr>
        <p:spPr>
          <a:xfrm>
            <a:off x="652774" y="2782250"/>
            <a:ext cx="508801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B078C37D-B57F-48B2-A791-D8BE3AAFB46C}"/>
              </a:ext>
            </a:extLst>
          </p:cNvPr>
          <p:cNvCxnSpPr>
            <a:cxnSpLocks/>
          </p:cNvCxnSpPr>
          <p:nvPr/>
        </p:nvCxnSpPr>
        <p:spPr>
          <a:xfrm flipH="1">
            <a:off x="6448510" y="2781583"/>
            <a:ext cx="508800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7BAAB36F-B277-4DF0-90DE-DECB04F99E76}"/>
              </a:ext>
            </a:extLst>
          </p:cNvPr>
          <p:cNvSpPr/>
          <p:nvPr/>
        </p:nvSpPr>
        <p:spPr>
          <a:xfrm>
            <a:off x="6328763" y="1734079"/>
            <a:ext cx="3554490" cy="768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>
              <a:defRPr/>
            </a:pPr>
            <a:r>
              <a:rPr kumimoji="0" lang="de-DE" sz="20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ilion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uulihankkeet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de-DE" sz="2000" b="1">
                <a:solidFill>
                  <a:prstClr val="black"/>
                </a:solidFill>
                <a:latin typeface="Arial"/>
              </a:rPr>
              <a:t>Ky </a:t>
            </a: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B6E46C6B-1E89-4017-BD74-C84545B13514}"/>
              </a:ext>
            </a:extLst>
          </p:cNvPr>
          <p:cNvCxnSpPr>
            <a:cxnSpLocks/>
          </p:cNvCxnSpPr>
          <p:nvPr/>
        </p:nvCxnSpPr>
        <p:spPr>
          <a:xfrm>
            <a:off x="6458034" y="2781573"/>
            <a:ext cx="0" cy="2224751"/>
          </a:xfrm>
          <a:prstGeom prst="straightConnector1">
            <a:avLst/>
          </a:prstGeom>
          <a:ln w="28575">
            <a:solidFill>
              <a:schemeClr val="tx1"/>
            </a:solidFill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E3A217B-0DFA-49B6-A055-C072837DC8B5}"/>
              </a:ext>
            </a:extLst>
          </p:cNvPr>
          <p:cNvCxnSpPr>
            <a:cxnSpLocks/>
          </p:cNvCxnSpPr>
          <p:nvPr/>
        </p:nvCxnSpPr>
        <p:spPr>
          <a:xfrm>
            <a:off x="5731262" y="2782240"/>
            <a:ext cx="0" cy="2224084"/>
          </a:xfrm>
          <a:prstGeom prst="straightConnector1">
            <a:avLst/>
          </a:prstGeom>
          <a:ln w="285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F072025F-1CA4-4236-9FC8-3853673489E8}"/>
              </a:ext>
            </a:extLst>
          </p:cNvPr>
          <p:cNvSpPr/>
          <p:nvPr/>
        </p:nvSpPr>
        <p:spPr>
          <a:xfrm>
            <a:off x="5367039" y="5042522"/>
            <a:ext cx="728445" cy="4169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>
                <a:solidFill>
                  <a:schemeClr val="tx1"/>
                </a:solidFill>
                <a:latin typeface="Arial"/>
              </a:rPr>
              <a:t>50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5E63D738-6663-455B-BDC8-8DB7236BDC9D}"/>
              </a:ext>
            </a:extLst>
          </p:cNvPr>
          <p:cNvSpPr/>
          <p:nvPr/>
        </p:nvSpPr>
        <p:spPr>
          <a:xfrm flipH="1">
            <a:off x="6159977" y="5055143"/>
            <a:ext cx="728445" cy="4169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>
                <a:solidFill>
                  <a:schemeClr val="tx1"/>
                </a:solidFill>
                <a:latin typeface="Arial"/>
              </a:rPr>
              <a:t>50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E1208EB2-FC1F-0B4B-A8D3-63EA0B676A01}"/>
              </a:ext>
            </a:extLst>
          </p:cNvPr>
          <p:cNvSpPr/>
          <p:nvPr/>
        </p:nvSpPr>
        <p:spPr>
          <a:xfrm>
            <a:off x="499192" y="2750156"/>
            <a:ext cx="4989583" cy="19095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b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sz="1600">
                <a:solidFill>
                  <a:schemeClr val="tx1"/>
                </a:solidFill>
              </a:rPr>
              <a:t>Grundat 2009</a:t>
            </a: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sv-SE" sz="1600">
                <a:solidFill>
                  <a:schemeClr val="tx1"/>
                </a:solidFill>
              </a:rPr>
              <a:t>Utvecklar, bygger och driver förnybara anläggningar med fokus på vind, sol och batterier</a:t>
            </a:r>
            <a:endParaRPr lang="sv-SE" sz="1600">
              <a:solidFill>
                <a:schemeClr val="tx1"/>
              </a:solidFill>
              <a:cs typeface="Arial"/>
            </a:endParaRP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sv-SE" sz="1600">
                <a:solidFill>
                  <a:schemeClr val="tx1"/>
                </a:solidFill>
                <a:cs typeface="Arial"/>
              </a:rPr>
              <a:t>33 länder, över 6 GW byggt och 10 GW under förvaltning 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8F08AB64-123B-D985-05EA-34D72315D2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95942" y="1996317"/>
            <a:ext cx="1935058" cy="718088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4EBC24C4-3678-F84D-03AF-E2BC02726F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045" y="2049785"/>
            <a:ext cx="2351772" cy="896606"/>
          </a:xfrm>
          <a:prstGeom prst="rect">
            <a:avLst/>
          </a:prstGeom>
        </p:spPr>
      </p:pic>
      <p:sp>
        <p:nvSpPr>
          <p:cNvPr id="15" name="Rectangle 3">
            <a:extLst>
              <a:ext uri="{FF2B5EF4-FFF2-40B4-BE49-F238E27FC236}">
                <a16:creationId xmlns:a16="http://schemas.microsoft.com/office/drawing/2014/main" id="{F1EC2ABF-5B3C-6123-F1F9-7A41A4E90FF4}"/>
              </a:ext>
            </a:extLst>
          </p:cNvPr>
          <p:cNvSpPr/>
          <p:nvPr/>
        </p:nvSpPr>
        <p:spPr>
          <a:xfrm>
            <a:off x="4316245" y="5442900"/>
            <a:ext cx="3906438" cy="7180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rnio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rhakkamaa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uuli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de-DE" sz="2000" b="1">
                <a:solidFill>
                  <a:prstClr val="black"/>
                </a:solidFill>
                <a:latin typeface="Arial"/>
              </a:rPr>
              <a:t>Ky</a:t>
            </a: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40968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10">
            <a:extLst>
              <a:ext uri="{FF2B5EF4-FFF2-40B4-BE49-F238E27FC236}">
                <a16:creationId xmlns:a16="http://schemas.microsoft.com/office/drawing/2014/main" id="{7969EA30-766A-49E5-A525-DF9474169CF7}"/>
              </a:ext>
            </a:extLst>
          </p:cNvPr>
          <p:cNvPicPr>
            <a:picLocks noGrp="1" noChangeAspect="1"/>
          </p:cNvPicPr>
          <p:nvPr>
            <p:ph type="pic" sz="quarter" idx="10"/>
            <p:custDataLst>
              <p:tags r:id="rId1"/>
            </p:custDataLst>
          </p:nvPr>
        </p:nvPicPr>
        <p:blipFill>
          <a:blip r:embed="rId4"/>
          <a:srcRect l="40113" r="40113"/>
          <a:stretch>
            <a:fillRect/>
          </a:stretch>
        </p:blipFill>
        <p:spPr bwMode="gray">
          <a:xfrm>
            <a:off x="479425" y="0"/>
            <a:ext cx="3240088" cy="6858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EC34C4-4393-4CE1-9EE5-6E9B9D5BF7B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0FEB20-7380-4D27-AF92-EDCE0F808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CBEE844-16E2-4CDB-9D73-314FFFDC3E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v-SE"/>
              <a:t>2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908058-4AE8-4F6F-8C5D-C324F2598F3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itel 12">
            <a:extLst>
              <a:ext uri="{FF2B5EF4-FFF2-40B4-BE49-F238E27FC236}">
                <a16:creationId xmlns:a16="http://schemas.microsoft.com/office/drawing/2014/main" id="{6089B662-5E93-4987-80DB-AC06B939521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4943872" y="2765067"/>
            <a:ext cx="5616000" cy="1944000"/>
          </a:xfrm>
        </p:spPr>
        <p:txBody>
          <a:bodyPr/>
          <a:lstStyle/>
          <a:p>
            <a:r>
              <a:rPr lang="de-DE" sz="5400" err="1">
                <a:solidFill>
                  <a:srgbClr val="78B90F"/>
                </a:solidFill>
              </a:rPr>
              <a:t>Projektområdet</a:t>
            </a:r>
            <a:r>
              <a:rPr lang="de-DE" sz="5400">
                <a:solidFill>
                  <a:srgbClr val="78B90F"/>
                </a:solidFill>
              </a:rPr>
              <a:t> </a:t>
            </a:r>
            <a:br>
              <a:rPr lang="de-DE"/>
            </a:br>
            <a:br>
              <a:rPr lang="de-DE"/>
            </a:br>
            <a:endParaRPr lang="de-D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6811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21A57AD-88CD-D169-4011-D95DA12E80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arhakkamaa vindkraftspark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3151101E-B804-7C9B-F173-CCE735E4A0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0A39-527A-45CF-A911-B921024B92E6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7" name="Platshållare för sidfot 6">
            <a:extLst>
              <a:ext uri="{FF2B5EF4-FFF2-40B4-BE49-F238E27FC236}">
                <a16:creationId xmlns:a16="http://schemas.microsoft.com/office/drawing/2014/main" id="{1663D651-C67C-997C-815A-52CBD1B570D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BayWa r.e. Company Presentation 2020</a:t>
            </a:r>
            <a:endParaRPr lang="en-US"/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7E794ED0-D523-0257-0B07-A269246C0D91}"/>
              </a:ext>
            </a:extLst>
          </p:cNvPr>
          <p:cNvSpPr txBox="1"/>
          <p:nvPr/>
        </p:nvSpPr>
        <p:spPr>
          <a:xfrm>
            <a:off x="503433" y="1547053"/>
            <a:ext cx="3528000" cy="2689762"/>
          </a:xfrm>
          <a:prstGeom prst="rect">
            <a:avLst/>
          </a:prstGeom>
          <a:solidFill>
            <a:schemeClr val="accent1"/>
          </a:solidFill>
        </p:spPr>
        <p:txBody>
          <a:bodyPr wrap="square" lIns="108000" tIns="72000" rIns="108000" bIns="72000" rtlCol="0" anchor="t">
            <a:noAutofit/>
          </a:bodyPr>
          <a:lstStyle/>
          <a:p>
            <a:r>
              <a:rPr lang="sv-SE" sz="1400" b="1"/>
              <a:t>Antal verk: 48 </a:t>
            </a:r>
            <a:endParaRPr lang="sv-SE" sz="1400" b="1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endParaRPr lang="sv-SE" sz="1400" b="1">
              <a:solidFill>
                <a:schemeClr val="tx1"/>
              </a:solidFill>
            </a:endParaRPr>
          </a:p>
          <a:p>
            <a:r>
              <a:rPr lang="sv-SE" sz="1400" b="1"/>
              <a:t>Totalhöjd: max 300 meter </a:t>
            </a:r>
            <a:endParaRPr lang="sv-SE" sz="1400" b="1">
              <a:cs typeface="Arial"/>
            </a:endParaRPr>
          </a:p>
          <a:p>
            <a:pPr>
              <a:spcAft>
                <a:spcPts val="0"/>
              </a:spcAft>
            </a:pPr>
            <a:endParaRPr lang="sv-SE" sz="1400" b="1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r>
              <a:rPr lang="sv-SE" sz="1400" b="1">
                <a:solidFill>
                  <a:schemeClr val="tx1"/>
                </a:solidFill>
              </a:rPr>
              <a:t>Projektområde: 9 140 hektar </a:t>
            </a:r>
          </a:p>
          <a:p>
            <a:pPr>
              <a:spcAft>
                <a:spcPts val="0"/>
              </a:spcAft>
            </a:pPr>
            <a:endParaRPr lang="sv-SE" sz="1400" b="1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r>
              <a:rPr lang="sv-SE" sz="1400" b="1">
                <a:solidFill>
                  <a:schemeClr val="tx1"/>
                </a:solidFill>
              </a:rPr>
              <a:t>Effekt: 6-10 MW per vindkraftverk </a:t>
            </a:r>
          </a:p>
          <a:p>
            <a:pPr>
              <a:spcAft>
                <a:spcPts val="0"/>
              </a:spcAft>
            </a:pPr>
            <a:endParaRPr lang="sv-SE" sz="1400" b="1">
              <a:solidFill>
                <a:schemeClr val="tx1"/>
              </a:solidFill>
            </a:endParaRPr>
          </a:p>
          <a:p>
            <a:r>
              <a:rPr lang="sv-SE" sz="1400" b="1"/>
              <a:t>Produktion: upp till 1 400 GWh,  </a:t>
            </a:r>
            <a:endParaRPr lang="sv-SE" sz="1400" b="1">
              <a:cs typeface="Arial"/>
            </a:endParaRPr>
          </a:p>
          <a:p>
            <a:r>
              <a:rPr lang="sv-SE" sz="1400" b="1"/>
              <a:t>(hushållsel för upp till 200 000 villor) </a:t>
            </a:r>
            <a:endParaRPr lang="sv-SE" sz="1400" b="1">
              <a:cs typeface="Arial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DEBEE97-C767-FB4B-14BB-44DA2B900AFC}"/>
              </a:ext>
            </a:extLst>
          </p:cNvPr>
          <p:cNvPicPr>
            <a:picLocks noGrp="1" noChangeAspect="1" noChangeArrowheads="1"/>
          </p:cNvPicPr>
          <p:nvPr>
            <p:ph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1033" y="1165178"/>
            <a:ext cx="6577736" cy="4655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02584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9E6C3C-B1A9-4B47-921D-A4221EDBFC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355" y="368696"/>
            <a:ext cx="11376645" cy="648000"/>
          </a:xfrm>
        </p:spPr>
        <p:txBody>
          <a:bodyPr/>
          <a:lstStyle/>
          <a:p>
            <a:r>
              <a:rPr lang="sv-SE"/>
              <a:t>Geografiskt lä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2E4B42-38C0-421A-99B3-8ED3A3542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0A39-527A-45CF-A911-B921024B92E6}" type="slidenum">
              <a:rPr lang="sv-SE" smtClean="0"/>
              <a:pPr/>
              <a:t>8</a:t>
            </a:fld>
            <a:endParaRPr lang="sv-S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88CE868C-CDC0-47DD-AEAA-8348994EF5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095999" y="6561368"/>
            <a:ext cx="5364000" cy="180000"/>
          </a:xfrm>
        </p:spPr>
        <p:txBody>
          <a:bodyPr/>
          <a:lstStyle/>
          <a:p>
            <a:r>
              <a:rPr lang="sv-SE"/>
              <a:t>BayWa r.e. Nordic 202</a:t>
            </a:r>
            <a:r>
              <a:rPr lang="en-SE"/>
              <a:t>3</a:t>
            </a:r>
            <a:endParaRPr lang="sv-SE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024C3D9-6549-B959-1E03-7D464DB20E04}"/>
              </a:ext>
            </a:extLst>
          </p:cNvPr>
          <p:cNvSpPr/>
          <p:nvPr/>
        </p:nvSpPr>
        <p:spPr>
          <a:xfrm>
            <a:off x="4142342" y="5210978"/>
            <a:ext cx="1762699" cy="64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endParaRPr lang="sv-SE" sz="1600" err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0D1772-98AD-D71E-7E58-05F1A917BFAA}"/>
              </a:ext>
            </a:extLst>
          </p:cNvPr>
          <p:cNvSpPr txBox="1">
            <a:spLocks/>
          </p:cNvSpPr>
          <p:nvPr/>
        </p:nvSpPr>
        <p:spPr bwMode="gray">
          <a:xfrm>
            <a:off x="697681" y="621413"/>
            <a:ext cx="3281843" cy="513316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n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45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23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2000" i="1">
              <a:cs typeface="Arial"/>
            </a:endParaRPr>
          </a:p>
          <a:p>
            <a:pPr>
              <a:spcBef>
                <a:spcPts val="500"/>
              </a:spcBef>
              <a:spcAft>
                <a:spcPts val="300"/>
              </a:spcAft>
            </a:pPr>
            <a:endParaRPr lang="sv-SE" b="0">
              <a:solidFill>
                <a:schemeClr val="tx1"/>
              </a:solidFill>
              <a:latin typeface="Arial"/>
              <a:cs typeface="Segoe UI"/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sv-SE">
                <a:latin typeface="Arial"/>
                <a:cs typeface="Arial"/>
              </a:rPr>
              <a:t>Beläget i Torneå kommu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sv-SE">
                <a:latin typeface="Arial"/>
                <a:cs typeface="Segoe UI"/>
              </a:rPr>
              <a:t>Torneå centrum, ca 32 km. </a:t>
            </a:r>
            <a:endParaRPr lang="sv-SE">
              <a:latin typeface="Arial"/>
              <a:cs typeface="Arial"/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sv-SE">
                <a:latin typeface="Arial"/>
                <a:cs typeface="Segoe UI"/>
              </a:rPr>
              <a:t>Övertorneå kommun, ca 17 km. </a:t>
            </a:r>
            <a:endParaRPr lang="sv-SE">
              <a:latin typeface="Arial"/>
              <a:cs typeface="Arial"/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sv-SE">
                <a:latin typeface="Arial"/>
                <a:cs typeface="Segoe UI"/>
              </a:rPr>
              <a:t>Torne älv och den svenska gränsen, ca 4 km.</a:t>
            </a:r>
            <a:endParaRPr lang="sv-SE">
              <a:latin typeface="Arial"/>
              <a:cs typeface="Arial"/>
            </a:endParaRPr>
          </a:p>
          <a:p>
            <a:pPr lvl="2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sv-SE">
              <a:cs typeface="Arial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773C99A8-B214-4776-C535-A65BC0F2DB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3950" y="692696"/>
            <a:ext cx="7353657" cy="5212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58840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9E6C3C-B1A9-4B47-921D-A4221EDBFC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355" y="368696"/>
            <a:ext cx="11376645" cy="648000"/>
          </a:xfrm>
        </p:spPr>
        <p:txBody>
          <a:bodyPr/>
          <a:lstStyle/>
          <a:p>
            <a:r>
              <a:rPr lang="sv-SE"/>
              <a:t>Geografiskt lä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2E4B42-38C0-421A-99B3-8ED3A3542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40A39-527A-45CF-A911-B921024B92E6}" type="slidenum">
              <a:rPr lang="sv-SE" smtClean="0"/>
              <a:pPr/>
              <a:t>9</a:t>
            </a:fld>
            <a:endParaRPr lang="sv-S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88CE868C-CDC0-47DD-AEAA-8348994EF5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095999" y="6561368"/>
            <a:ext cx="5364000" cy="180000"/>
          </a:xfrm>
        </p:spPr>
        <p:txBody>
          <a:bodyPr/>
          <a:lstStyle/>
          <a:p>
            <a:r>
              <a:rPr lang="sv-SE"/>
              <a:t>BayWa r.e. Nordic 202</a:t>
            </a:r>
            <a:r>
              <a:rPr lang="en-SE"/>
              <a:t>3</a:t>
            </a:r>
            <a:endParaRPr lang="sv-SE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024C3D9-6549-B959-1E03-7D464DB20E04}"/>
              </a:ext>
            </a:extLst>
          </p:cNvPr>
          <p:cNvSpPr/>
          <p:nvPr/>
        </p:nvSpPr>
        <p:spPr>
          <a:xfrm>
            <a:off x="4142342" y="5210978"/>
            <a:ext cx="1762699" cy="64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endParaRPr lang="sv-SE" sz="1600" err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0D1772-98AD-D71E-7E58-05F1A917BFAA}"/>
              </a:ext>
            </a:extLst>
          </p:cNvPr>
          <p:cNvSpPr txBox="1">
            <a:spLocks/>
          </p:cNvSpPr>
          <p:nvPr/>
        </p:nvSpPr>
        <p:spPr bwMode="gray">
          <a:xfrm>
            <a:off x="672281" y="1199264"/>
            <a:ext cx="7161286" cy="42328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n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45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23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har char="§"/>
            </a:pPr>
            <a:r>
              <a:rPr lang="sv-SE"/>
              <a:t>Samtliga vindkraftverk kommer att hålla minst två kilometers avstånd till permanent bebyggelse i Finland. </a:t>
            </a:r>
            <a:endParaRPr lang="en-US"/>
          </a:p>
          <a:p>
            <a:pPr lvl="2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har char="§"/>
            </a:pPr>
            <a:r>
              <a:rPr lang="sv-SE"/>
              <a:t>Avståndet till närmsta bostadshus i Sverige är 5-6 km. </a:t>
            </a:r>
            <a:endParaRPr lang="sv-SE">
              <a:cs typeface="Arial"/>
            </a:endParaRPr>
          </a:p>
          <a:p>
            <a:pPr lvl="2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har char="§"/>
            </a:pPr>
            <a:r>
              <a:rPr lang="sv-SE"/>
              <a:t>Närmsta samhällen är Övertorneå, Tervola och Karungi. Det finns också bostäder längs Torne- och Kemi älv. </a:t>
            </a:r>
            <a:endParaRPr lang="sv-SE">
              <a:cs typeface="Arial"/>
            </a:endParaRPr>
          </a:p>
          <a:p>
            <a:pPr lvl="2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har char="§"/>
            </a:pPr>
            <a:endParaRPr lang="sv-S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425337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hezTqwhpTc5vLyo7Wyh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hezTqwhpTc5vLyo7Wy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x.0a.dT2mx5ms5.jXR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BayWa r.e.">
  <a:themeElements>
    <a:clrScheme name="BayWa r.e.">
      <a:dk1>
        <a:sysClr val="windowText" lastClr="000000"/>
      </a:dk1>
      <a:lt1>
        <a:sysClr val="window" lastClr="FFFFFF"/>
      </a:lt1>
      <a:dk2>
        <a:srgbClr val="D7373C"/>
      </a:dk2>
      <a:lt2>
        <a:srgbClr val="E3E3E3"/>
      </a:lt2>
      <a:accent1>
        <a:srgbClr val="78B90F"/>
      </a:accent1>
      <a:accent2>
        <a:srgbClr val="008C46"/>
      </a:accent2>
      <a:accent3>
        <a:srgbClr val="4C4C4C"/>
      </a:accent3>
      <a:accent4>
        <a:srgbClr val="FAD900"/>
      </a:accent4>
      <a:accent5>
        <a:srgbClr val="CCCCCC"/>
      </a:accent5>
      <a:accent6>
        <a:srgbClr val="7F7F7F"/>
      </a:accent6>
      <a:hlink>
        <a:srgbClr val="000000"/>
      </a:hlink>
      <a:folHlink>
        <a:srgbClr val="000000"/>
      </a:folHlink>
    </a:clrScheme>
    <a:fontScheme name="BayWa r.e.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08000" tIns="72000" rIns="108000" bIns="72000"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08000" tIns="72000" rIns="108000" bIns="72000" rtlCol="0">
        <a:noAutofit/>
      </a:bodyPr>
      <a:lstStyle>
        <a:defPPr marL="266700" indent="-266700" algn="l">
          <a:buClr>
            <a:schemeClr val="accent1"/>
          </a:buClr>
          <a:buFont typeface="Wingdings" panose="05000000000000000000" pitchFamily="2" charset="2"/>
          <a:buChar char="n"/>
          <a:defRPr sz="1600" dirty="0" err="1" smtClean="0"/>
        </a:defPPr>
      </a:lstStyle>
    </a:txDef>
  </a:objectDefaults>
  <a:extraClrSchemeLst/>
  <a:custClrLst>
    <a:custClr name="Grey 9">
      <a:srgbClr val="2E2E2E"/>
    </a:custClr>
    <a:custClr name="Grey 8">
      <a:srgbClr val="4C4C4C"/>
    </a:custClr>
    <a:custClr name="Grey 7">
      <a:srgbClr val="666666"/>
    </a:custClr>
    <a:custClr name="Grey 6">
      <a:srgbClr val="7F7F7F"/>
    </a:custClr>
    <a:custClr name="Grey 5">
      <a:srgbClr val="999999"/>
    </a:custClr>
    <a:custClr name="Grey 4">
      <a:srgbClr val="B2B2B2"/>
    </a:custClr>
    <a:custClr name="Grey 3">
      <a:srgbClr val="CCCCCC"/>
    </a:custClr>
    <a:custClr name="Grey2">
      <a:srgbClr val="E3E3E3"/>
    </a:custClr>
    <a:custClr name="Grey 1">
      <a:srgbClr val="F3F3F3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K16_BayWa r.e._Master_16zu9_PPT 2016.potx" id="{3FADFAD8-FA31-44A0-B541-871062B17B59}" vid="{150D9D6F-275C-4BC0-AB08-7F27E63874A7}"/>
    </a:ext>
  </a:extLst>
</a:theme>
</file>

<file path=ppt/theme/theme2.xml><?xml version="1.0" encoding="utf-8"?>
<a:theme xmlns:a="http://schemas.openxmlformats.org/drawingml/2006/main" name="BayWa r.e.">
  <a:themeElements>
    <a:clrScheme name="BayWa r.e.">
      <a:dk1>
        <a:sysClr val="windowText" lastClr="000000"/>
      </a:dk1>
      <a:lt1>
        <a:sysClr val="window" lastClr="FFFFFF"/>
      </a:lt1>
      <a:dk2>
        <a:srgbClr val="D7373C"/>
      </a:dk2>
      <a:lt2>
        <a:srgbClr val="E3E3E3"/>
      </a:lt2>
      <a:accent1>
        <a:srgbClr val="78B90F"/>
      </a:accent1>
      <a:accent2>
        <a:srgbClr val="008C46"/>
      </a:accent2>
      <a:accent3>
        <a:srgbClr val="4C4C4C"/>
      </a:accent3>
      <a:accent4>
        <a:srgbClr val="FAD900"/>
      </a:accent4>
      <a:accent5>
        <a:srgbClr val="CCCCCC"/>
      </a:accent5>
      <a:accent6>
        <a:srgbClr val="7F7F7F"/>
      </a:accent6>
      <a:hlink>
        <a:srgbClr val="000000"/>
      </a:hlink>
      <a:folHlink>
        <a:srgbClr val="000000"/>
      </a:folHlink>
    </a:clrScheme>
    <a:fontScheme name="BayWa r.e.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08000" tIns="72000" rIns="108000" bIns="72000"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08000" tIns="72000" rIns="108000" bIns="72000" rtlCol="0">
        <a:noAutofit/>
      </a:bodyPr>
      <a:lstStyle>
        <a:defPPr marL="266700" indent="-266700" algn="l">
          <a:buClr>
            <a:schemeClr val="accent1"/>
          </a:buClr>
          <a:buFont typeface="Wingdings" panose="05000000000000000000" pitchFamily="2" charset="2"/>
          <a:buChar char="n"/>
          <a:defRPr sz="1600" dirty="0" err="1" smtClean="0"/>
        </a:defPPr>
      </a:lstStyle>
    </a:txDef>
  </a:objectDefaults>
  <a:extraClrSchemeLst/>
  <a:custClrLst>
    <a:custClr name="Grey 9">
      <a:srgbClr val="2E2E2E"/>
    </a:custClr>
    <a:custClr name="Grey 8">
      <a:srgbClr val="4C4C4C"/>
    </a:custClr>
    <a:custClr name="Grey 7">
      <a:srgbClr val="666666"/>
    </a:custClr>
    <a:custClr name="Grey 6">
      <a:srgbClr val="7F7F7F"/>
    </a:custClr>
    <a:custClr name="Grey 5">
      <a:srgbClr val="999999"/>
    </a:custClr>
    <a:custClr name="Grey 4">
      <a:srgbClr val="B2B2B2"/>
    </a:custClr>
    <a:custClr name="Grey 3">
      <a:srgbClr val="CCCCCC"/>
    </a:custClr>
    <a:custClr name="Grey2">
      <a:srgbClr val="E3E3E3"/>
    </a:custClr>
    <a:custClr name="Grey 1">
      <a:srgbClr val="F3F3F3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K16_BayWa r.e._Master_16zu9_PPT 2016.potx" id="{3FADFAD8-FA31-44A0-B541-871062B17B59}" vid="{150D9D6F-275C-4BC0-AB08-7F27E63874A7}"/>
    </a:ext>
  </a:extLst>
</a:theme>
</file>

<file path=ppt/theme/theme3.xml><?xml version="1.0" encoding="utf-8"?>
<a:theme xmlns:a="http://schemas.openxmlformats.org/drawingml/2006/main" name="Office">
  <a:themeElements>
    <a:clrScheme name="BayWa r.e.">
      <a:dk1>
        <a:sysClr val="windowText" lastClr="000000"/>
      </a:dk1>
      <a:lt1>
        <a:sysClr val="window" lastClr="FFFFFF"/>
      </a:lt1>
      <a:dk2>
        <a:srgbClr val="D7373C"/>
      </a:dk2>
      <a:lt2>
        <a:srgbClr val="E3E3E3"/>
      </a:lt2>
      <a:accent1>
        <a:srgbClr val="78B90F"/>
      </a:accent1>
      <a:accent2>
        <a:srgbClr val="008C46"/>
      </a:accent2>
      <a:accent3>
        <a:srgbClr val="4C4C4C"/>
      </a:accent3>
      <a:accent4>
        <a:srgbClr val="FAD900"/>
      </a:accent4>
      <a:accent5>
        <a:srgbClr val="CCCCCC"/>
      </a:accent5>
      <a:accent6>
        <a:srgbClr val="7F7F7F"/>
      </a:accent6>
      <a:hlink>
        <a:srgbClr val="000000"/>
      </a:hlink>
      <a:folHlink>
        <a:srgbClr val="000000"/>
      </a:folHlink>
    </a:clrScheme>
    <a:fontScheme name="BayWa r.e.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08000" tIns="72000" rIns="108000" bIns="72000"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08000" tIns="72000" rIns="108000" bIns="72000" rtlCol="0">
        <a:noAutofit/>
      </a:bodyPr>
      <a:lstStyle>
        <a:defPPr marL="266700" indent="-266700" algn="l">
          <a:buClr>
            <a:schemeClr val="accent1"/>
          </a:buClr>
          <a:buFont typeface="Wingdings" panose="05000000000000000000" pitchFamily="2" charset="2"/>
          <a:buChar char="n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BayWa r.e.">
      <a:dk1>
        <a:sysClr val="windowText" lastClr="000000"/>
      </a:dk1>
      <a:lt1>
        <a:sysClr val="window" lastClr="FFFFFF"/>
      </a:lt1>
      <a:dk2>
        <a:srgbClr val="D7373C"/>
      </a:dk2>
      <a:lt2>
        <a:srgbClr val="E3E3E3"/>
      </a:lt2>
      <a:accent1>
        <a:srgbClr val="78B90F"/>
      </a:accent1>
      <a:accent2>
        <a:srgbClr val="008C46"/>
      </a:accent2>
      <a:accent3>
        <a:srgbClr val="4C4C4C"/>
      </a:accent3>
      <a:accent4>
        <a:srgbClr val="FAD900"/>
      </a:accent4>
      <a:accent5>
        <a:srgbClr val="CCCCCC"/>
      </a:accent5>
      <a:accent6>
        <a:srgbClr val="7F7F7F"/>
      </a:accent6>
      <a:hlink>
        <a:srgbClr val="000000"/>
      </a:hlink>
      <a:folHlink>
        <a:srgbClr val="000000"/>
      </a:folHlink>
    </a:clrScheme>
    <a:fontScheme name="BayWa r.e.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08000" tIns="72000" rIns="108000" bIns="72000"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08000" tIns="72000" rIns="108000" bIns="72000" rtlCol="0">
        <a:noAutofit/>
      </a:bodyPr>
      <a:lstStyle>
        <a:defPPr marL="266700" indent="-266700" algn="l">
          <a:buClr>
            <a:schemeClr val="accent1"/>
          </a:buClr>
          <a:buFont typeface="Wingdings" panose="05000000000000000000" pitchFamily="2" charset="2"/>
          <a:buChar char="n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d72d139-4397-4cce-9456-2fd5006c1520">
      <Terms xmlns="http://schemas.microsoft.com/office/infopath/2007/PartnerControls"/>
    </lcf76f155ced4ddcb4097134ff3c332f>
    <TaxCatchAll xmlns="cf739632-5a36-4f27-bf3b-7a9319d602c7" xsi:nil="true"/>
    <SharedWithUsers xmlns="cf739632-5a36-4f27-bf3b-7a9319d602c7">
      <UserInfo>
        <DisplayName>Ellen Andersson</DisplayName>
        <AccountId>89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AE4BCE07C88B40A1438EDD0CD11AAA" ma:contentTypeVersion="13" ma:contentTypeDescription="Create a new document." ma:contentTypeScope="" ma:versionID="1a0b2415a07f809720ea69fae601c737">
  <xsd:schema xmlns:xsd="http://www.w3.org/2001/XMLSchema" xmlns:xs="http://www.w3.org/2001/XMLSchema" xmlns:p="http://schemas.microsoft.com/office/2006/metadata/properties" xmlns:ns2="4d72d139-4397-4cce-9456-2fd5006c1520" xmlns:ns3="cf739632-5a36-4f27-bf3b-7a9319d602c7" targetNamespace="http://schemas.microsoft.com/office/2006/metadata/properties" ma:root="true" ma:fieldsID="1cf1dc10c42a3f230c5c6f2a436631a8" ns2:_="" ns3:_="">
    <xsd:import namespace="4d72d139-4397-4cce-9456-2fd5006c1520"/>
    <xsd:import namespace="cf739632-5a36-4f27-bf3b-7a9319d602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72d139-4397-4cce-9456-2fd5006c152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c672bf6e-e923-46e3-8ab0-51e7db781b7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739632-5a36-4f27-bf3b-7a9319d602c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c1ad6c4b-81e1-4307-aed4-dacfe4f8523f}" ma:internalName="TaxCatchAll" ma:showField="CatchAllData" ma:web="cf739632-5a36-4f27-bf3b-7a9319d602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DB6456E-8BA5-4E3B-A03E-C5AF5E46B301}">
  <ds:schemaRefs>
    <ds:schemaRef ds:uri="4d72d139-4397-4cce-9456-2fd5006c1520"/>
    <ds:schemaRef ds:uri="cf739632-5a36-4f27-bf3b-7a9319d602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01893E5-ED60-4F98-91D9-7187B00036A8}">
  <ds:schemaRefs>
    <ds:schemaRef ds:uri="4d72d139-4397-4cce-9456-2fd5006c1520"/>
    <ds:schemaRef ds:uri="cf739632-5a36-4f27-bf3b-7a9319d602c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10C04A1-12DA-42E2-AA8D-51F3A3576C3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57</Words>
  <Application>Microsoft Office PowerPoint</Application>
  <PresentationFormat>Bredbild</PresentationFormat>
  <Paragraphs>172</Paragraphs>
  <Slides>27</Slides>
  <Notes>6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2</vt:i4>
      </vt:variant>
      <vt:variant>
        <vt:lpstr>Bildrubriker</vt:lpstr>
      </vt:variant>
      <vt:variant>
        <vt:i4>27</vt:i4>
      </vt:variant>
    </vt:vector>
  </HeadingPairs>
  <TitlesOfParts>
    <vt:vector size="36" baseType="lpstr">
      <vt:lpstr>Arial</vt:lpstr>
      <vt:lpstr>Calibri</vt:lpstr>
      <vt:lpstr>Roboto</vt:lpstr>
      <vt:lpstr>Segoe UI</vt:lpstr>
      <vt:lpstr>Wingdings</vt:lpstr>
      <vt:lpstr>BayWa r.e.</vt:lpstr>
      <vt:lpstr>BayWa r.e.</vt:lpstr>
      <vt:lpstr>think-cell Folie</vt:lpstr>
      <vt:lpstr>think-cell Slide</vt:lpstr>
      <vt:lpstr>Karhakkamaa vindkraftspark  Internationellt samråd, Övertorneå kommun </vt:lpstr>
      <vt:lpstr>Internationellt samråd för vindkraftspark Karhakkamaa                           AGENDA</vt:lpstr>
      <vt:lpstr>  </vt:lpstr>
      <vt:lpstr>Tornio Karhakkamaa Tuuli Ky  </vt:lpstr>
      <vt:lpstr>Projektutvecklare</vt:lpstr>
      <vt:lpstr>Projektområdet   </vt:lpstr>
      <vt:lpstr>Karhakkamaa vindkraftspark</vt:lpstr>
      <vt:lpstr>Geografiskt läge</vt:lpstr>
      <vt:lpstr>Geografiskt läge</vt:lpstr>
      <vt:lpstr>Tillståndsprocess för vindkraftspark i Finland </vt:lpstr>
      <vt:lpstr>Miljökonsekvens-beskrivningen </vt:lpstr>
      <vt:lpstr>Avståndszoner 2-30 km runt projektområdet</vt:lpstr>
      <vt:lpstr>Miljökonsekvenser som ska bedömas </vt:lpstr>
      <vt:lpstr>Sammanfattning av miljökonsekvenser</vt:lpstr>
      <vt:lpstr>Ljudberäkning och   visuell påverkan </vt:lpstr>
      <vt:lpstr>Karhakkamaa ljudberäkning</vt:lpstr>
      <vt:lpstr>Visuell påverkan</vt:lpstr>
      <vt:lpstr>Fotopunkt Kukkolaforsen (Sverige) 21.9 km</vt:lpstr>
      <vt:lpstr>PowerPoint-presentation</vt:lpstr>
      <vt:lpstr>PowerPoint-presentation</vt:lpstr>
      <vt:lpstr>PowerPoint-presentation</vt:lpstr>
      <vt:lpstr>Markeringar för hinderbelysning </vt:lpstr>
      <vt:lpstr> Närliggande projekt </vt:lpstr>
      <vt:lpstr>PowerPoint-presentation</vt:lpstr>
      <vt:lpstr>Elanslutningen </vt:lpstr>
      <vt:lpstr>400 kV kraftledning</vt:lpstr>
      <vt:lpstr>Tack för uppmärksamheten!</vt:lpstr>
    </vt:vector>
  </TitlesOfParts>
  <Company>BayWa r.e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any Presentation</dc:title>
  <dc:creator>Dana Bonefeld</dc:creator>
  <dc:description>Optimize for PPT 2016</dc:description>
  <cp:lastModifiedBy>Sadzida Vrana</cp:lastModifiedBy>
  <cp:revision>23</cp:revision>
  <dcterms:created xsi:type="dcterms:W3CDTF">2019-05-10T07:06:35Z</dcterms:created>
  <dcterms:modified xsi:type="dcterms:W3CDTF">2024-02-27T14:2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AE4BCE07C88B40A1438EDD0CD11AAA</vt:lpwstr>
  </property>
  <property fmtid="{D5CDD505-2E9C-101B-9397-08002B2CF9AE}" pid="3" name="_ExtendedDescription">
    <vt:lpwstr/>
  </property>
  <property fmtid="{D5CDD505-2E9C-101B-9397-08002B2CF9AE}" pid="4" name="TriggerFlowInfo">
    <vt:lpwstr/>
  </property>
  <property fmtid="{D5CDD505-2E9C-101B-9397-08002B2CF9AE}" pid="5" name="MediaServiceImageTags">
    <vt:lpwstr/>
  </property>
</Properties>
</file>